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51" r:id="rId5"/>
  </p:sldMasterIdLst>
  <p:notesMasterIdLst>
    <p:notesMasterId r:id="rId21"/>
  </p:notesMasterIdLst>
  <p:handoutMasterIdLst>
    <p:handoutMasterId r:id="rId22"/>
  </p:handoutMasterIdLst>
  <p:sldIdLst>
    <p:sldId id="256" r:id="rId6"/>
    <p:sldId id="864" r:id="rId7"/>
    <p:sldId id="866" r:id="rId8"/>
    <p:sldId id="1072" r:id="rId9"/>
    <p:sldId id="956" r:id="rId10"/>
    <p:sldId id="971" r:id="rId11"/>
    <p:sldId id="2147376608" r:id="rId12"/>
    <p:sldId id="2147376611" r:id="rId13"/>
    <p:sldId id="2147376606" r:id="rId14"/>
    <p:sldId id="2147376609" r:id="rId15"/>
    <p:sldId id="2147376607" r:id="rId16"/>
    <p:sldId id="2147376612" r:id="rId17"/>
    <p:sldId id="2147376610" r:id="rId18"/>
    <p:sldId id="2147376603" r:id="rId19"/>
    <p:sldId id="2147376475" r:id="rId20"/>
  </p:sldIdLst>
  <p:sldSz cx="9144000" cy="6858000" type="screen4x3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380BE1-F265-4F46-990F-F3868AD42D80}" v="17" dt="2023-09-13T19:37:58.1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0" d="100"/>
          <a:sy n="80" d="100"/>
        </p:scale>
        <p:origin x="1450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4026" y="66"/>
      </p:cViewPr>
      <p:guideLst>
        <p:guide orient="horz" pos="2957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3" y="0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DFF2B3-6017-4BA9-B201-40A6BE381D44}" type="datetime1">
              <a:rPr lang="en-US" smtClean="0"/>
              <a:t>9/14/2023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917421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3" y="8917421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81765A-0D84-4EC7-98CA-E117C72F023E}" type="datetime1">
              <a:rPr lang="en-US" smtClean="0"/>
              <a:t>9/14/2023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4850"/>
            <a:ext cx="46926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17421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3" y="8917421"/>
            <a:ext cx="3077739" cy="4694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90664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Logo - NDP - Full colour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943271" y="5859354"/>
            <a:ext cx="1048329" cy="9937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245939"/>
            <a:ext cx="8555868" cy="740570"/>
          </a:xfrm>
          <a:prstGeom prst="rect">
            <a:avLst/>
          </a:prstGeom>
        </p:spPr>
        <p:txBody>
          <a:bodyPr anchor="ctr"/>
          <a:lstStyle>
            <a:lvl1pPr algn="l">
              <a:defRPr sz="9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3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67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7910" indent="-160735">
              <a:buFont typeface="Courier New" panose="02070309020205020404" pitchFamily="49" charset="0"/>
              <a:buChar char="o"/>
              <a:defRPr sz="67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7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7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7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2" y="6026664"/>
            <a:ext cx="6967538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5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45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45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45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45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3E9816-8051-401A-9174-41B50B4B4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3E9816-8051-401A-9174-41B50B4B4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8A6831B-62A4-4930-9F31-E0C0F1F611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238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26">
            <a:extLst>
              <a:ext uri="{FF2B5EF4-FFF2-40B4-BE49-F238E27FC236}">
                <a16:creationId xmlns:a16="http://schemas.microsoft.com/office/drawing/2014/main" id="{17E39F5A-4A2E-4989-B710-86AAC44B982F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z="675" smtClean="0"/>
              <a:pPr/>
              <a:t>‹#›</a:t>
            </a:fld>
            <a:endParaRPr lang="en-ZA" sz="675" dirty="0"/>
          </a:p>
        </p:txBody>
      </p:sp>
    </p:spTree>
    <p:extLst>
      <p:ext uri="{BB962C8B-B14F-4D97-AF65-F5344CB8AC3E}">
        <p14:creationId xmlns:p14="http://schemas.microsoft.com/office/powerpoint/2010/main" val="3536694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74D16-0B40-65BF-76AD-3B060E675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9534D9-A253-1F7A-62F4-1857D42D9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FA8F12-4E31-4FC4-3952-325546330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BBD61F-D676-7E1B-4F83-C28E157B5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6554A-3880-4E2A-B077-4DDBAF4B26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939153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4815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1"/>
            <a:ext cx="9001001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14892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+Log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DOH Logo.jpg">
            <a:extLst>
              <a:ext uri="{FF2B5EF4-FFF2-40B4-BE49-F238E27FC236}">
                <a16:creationId xmlns:a16="http://schemas.microsoft.com/office/drawing/2014/main" id="{74B94D33-B152-390E-A6FB-6EE6BAF448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26" y="5943602"/>
            <a:ext cx="1576646" cy="75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530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_PEPFAR, CDC, AURU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9144000" cy="3570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DC6084D-C2A3-4F29-B9D7-A9CDD8EE2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35777" y="1027297"/>
            <a:ext cx="5310052" cy="914385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2060"/>
                </a:solidFill>
                <a:latin typeface="Arial Nova" panose="020B0504020202020204" pitchFamily="34" charset="0"/>
                <a:cs typeface="Arial Nova" panose="020B05040202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8">
            <a:extLst>
              <a:ext uri="{FF2B5EF4-FFF2-40B4-BE49-F238E27FC236}">
                <a16:creationId xmlns:a16="http://schemas.microsoft.com/office/drawing/2014/main" id="{A090C4AE-3F79-4E1F-83EE-750ECAE65D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5777" y="2328149"/>
            <a:ext cx="5310052" cy="3871112"/>
          </a:xfrm>
        </p:spPr>
        <p:txBody>
          <a:bodyPr>
            <a:normAutofit/>
          </a:bodyPr>
          <a:lstStyle>
            <a:lvl1pPr marL="342892" indent="-342892">
              <a:lnSpc>
                <a:spcPct val="120000"/>
              </a:lnSpc>
              <a:buClr>
                <a:srgbClr val="006699"/>
              </a:buClr>
              <a:buFont typeface="Lucida Grande"/>
              <a:buChar char="-"/>
              <a:defRPr sz="1400">
                <a:solidFill>
                  <a:schemeClr val="tx1"/>
                </a:solidFill>
                <a:latin typeface="Arial"/>
                <a:cs typeface="Arial"/>
              </a:defRPr>
            </a:lvl1pPr>
            <a:lvl2pPr marL="742931" indent="-285743">
              <a:lnSpc>
                <a:spcPct val="120000"/>
              </a:lnSpc>
              <a:buClr>
                <a:srgbClr val="F9AF33"/>
              </a:buClr>
              <a:buSzPct val="80000"/>
              <a:buFont typeface="Wingdings" charset="2"/>
              <a:buChar char="§"/>
              <a:defRPr sz="1400">
                <a:solidFill>
                  <a:schemeClr val="tx1"/>
                </a:solidFill>
                <a:latin typeface="Arial"/>
                <a:cs typeface="Arial"/>
              </a:defRPr>
            </a:lvl2pPr>
            <a:lvl3pPr marL="1142972" indent="-228594">
              <a:lnSpc>
                <a:spcPct val="120000"/>
              </a:lnSpc>
              <a:buClr>
                <a:srgbClr val="F9AF33"/>
              </a:buClr>
              <a:buFont typeface="Lucida Grande"/>
              <a:buChar char="-"/>
              <a:defRPr sz="1400">
                <a:solidFill>
                  <a:schemeClr val="tx1"/>
                </a:solidFill>
                <a:latin typeface="Arial"/>
                <a:cs typeface="Arial"/>
              </a:defRPr>
            </a:lvl3pPr>
            <a:lvl4pPr marL="1600160" indent="-228594">
              <a:lnSpc>
                <a:spcPct val="120000"/>
              </a:lnSpc>
              <a:buClr>
                <a:srgbClr val="F9AF33"/>
              </a:buClr>
              <a:buSzPct val="80000"/>
              <a:buFont typeface="Wingdings" charset="2"/>
              <a:buChar char="§"/>
              <a:defRPr sz="14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lnSpc>
                <a:spcPct val="120000"/>
              </a:lnSpc>
              <a:buClr>
                <a:srgbClr val="F9AF33"/>
              </a:buClr>
              <a:defRPr sz="14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NDOH Logo.jpg">
            <a:extLst>
              <a:ext uri="{FF2B5EF4-FFF2-40B4-BE49-F238E27FC236}">
                <a16:creationId xmlns:a16="http://schemas.microsoft.com/office/drawing/2014/main" id="{74B94D33-B152-390E-A6FB-6EE6BAF448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26" y="5943602"/>
            <a:ext cx="1576646" cy="75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04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3" y="1277840"/>
            <a:ext cx="8634487" cy="4672111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2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637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4358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AD073D2-E1FA-4772-8B9B-E9AF2EF97276}"/>
              </a:ext>
            </a:extLst>
          </p:cNvPr>
          <p:cNvSpPr/>
          <p:nvPr userDrawn="1"/>
        </p:nvSpPr>
        <p:spPr>
          <a:xfrm>
            <a:off x="0" y="1"/>
            <a:ext cx="9144000" cy="3570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6" hasCustomPrompt="1"/>
          </p:nvPr>
        </p:nvSpPr>
        <p:spPr>
          <a:xfrm>
            <a:off x="756091" y="1859220"/>
            <a:ext cx="6532439" cy="3439145"/>
          </a:xfrm>
        </p:spPr>
        <p:txBody>
          <a:bodyPr>
            <a:normAutofit/>
          </a:bodyPr>
          <a:lstStyle>
            <a:lvl1pPr>
              <a:lnSpc>
                <a:spcPct val="120000"/>
              </a:lnSpc>
              <a:defRPr sz="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LL CHARTS BLOCKS NEED TO BE RED, GREY OR YELLOW. CHART LINES NEED TO BE GREY. ALL TEXT IS WHITE. FONT ARIAL PT9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884D00-B659-4F50-98D4-8BB86F8710D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6091" y="947471"/>
            <a:ext cx="6547277" cy="653063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2060"/>
                </a:solidFill>
                <a:latin typeface="Arial Nova" panose="020B0504020202020204" pitchFamily="34" charset="0"/>
                <a:cs typeface="Arial Nova" panose="020B05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D4212B-293B-40FA-80FA-0AA302575F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94528"/>
            <a:ext cx="8830491" cy="136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80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6F7EE-937D-B72C-5909-7982868C1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9590DE-137A-9BF3-7E71-8E2F1A8271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932CC9-7EB7-949E-AB64-826326B5F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A7C063-F2FB-34CC-07F1-07E812D9D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E223A8-DC19-BBF4-AAC6-3224E128C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6554A-3880-4E2A-B077-4DDBAF4B26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925369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74D16-0B40-65BF-76AD-3B060E675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9534D9-A253-1F7A-62F4-1857D42D9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FA8F12-4E31-4FC4-3952-3255463307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BBD61F-D676-7E1B-4F83-C28E157B5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6554A-3880-4E2A-B077-4DDBAF4B260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48649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A66B6-BCB8-4974-ACB6-D9C66CBAD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34CD8-7F9D-4DF3-871F-20314952E9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1CBF4C-2998-42D8-B017-B941E7BDC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5A1B46-4966-4038-BC5F-CDE3DD3ADA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0A625F-8A9B-48A1-AC80-F88D0167D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8B2BB6-71D5-41B0-B182-2AA1D7F70BD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40849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3" r:id="rId7"/>
    <p:sldLayoutId id="2147483664" r:id="rId8"/>
    <p:sldLayoutId id="2147483666" r:id="rId9"/>
    <p:sldLayoutId id="2147483667" r:id="rId10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8087073" y="5835955"/>
            <a:ext cx="936104" cy="887373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A46065-72D1-D91C-08E4-8DEB73302814}"/>
              </a:ext>
            </a:extLst>
          </p:cNvPr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61" r:id="rId2"/>
    <p:sldLayoutId id="2147483662" r:id="rId3"/>
    <p:sldLayoutId id="2147483665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5.bin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gif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emf"/><Relationship Id="rId5" Type="http://schemas.openxmlformats.org/officeDocument/2006/relationships/image" Target="../media/image22.png"/><Relationship Id="rId10" Type="http://schemas.openxmlformats.org/officeDocument/2006/relationships/image" Target="../media/image27.emf"/><Relationship Id="rId4" Type="http://schemas.openxmlformats.org/officeDocument/2006/relationships/image" Target="../media/image21.png"/><Relationship Id="rId9" Type="http://schemas.openxmlformats.org/officeDocument/2006/relationships/image" Target="../media/image2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14600" y="1752600"/>
            <a:ext cx="5791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/>
              <a:t>The use of bedaquiline in south </a:t>
            </a:r>
            <a:r>
              <a:rPr lang="en-GB" sz="2800" b="1" dirty="0" err="1"/>
              <a:t>africa</a:t>
            </a:r>
            <a:endParaRPr lang="en-GB" sz="2800" b="1" dirty="0"/>
          </a:p>
          <a:p>
            <a:r>
              <a:rPr lang="en-GB" sz="2800" b="1" dirty="0"/>
              <a:t> 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4600" y="2741054"/>
            <a:ext cx="57912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of. Norbert NDJEKA</a:t>
            </a:r>
          </a:p>
          <a:p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5D28">
                    <a:lumMod val="90000"/>
                    <a:lumOff val="1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D, DHSM (Wits)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05D28">
                    <a:lumMod val="90000"/>
                    <a:lumOff val="1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Me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5D28">
                    <a:lumMod val="90000"/>
                    <a:lumOff val="1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(Fam Med) (MED), Dip HIV Man (CMSA), DSc  (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05D28">
                    <a:lumMod val="90000"/>
                    <a:lumOff val="1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.c.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5D28">
                    <a:lumMod val="90000"/>
                    <a:lumOff val="1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) (UCT)</a:t>
            </a: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hief Director: TB Control &amp; Management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eptember 14</a:t>
            </a:r>
            <a:r>
              <a:rPr lang="en-US" sz="2000" baseline="30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2023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33400" y="0"/>
            <a:ext cx="7315200" cy="838200"/>
          </a:xfrm>
          <a:prstGeom prst="rect">
            <a:avLst/>
          </a:prstGeom>
        </p:spPr>
        <p:txBody>
          <a:bodyPr tIns="45720" rIns="91440" bIns="45720" anchor="b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2" name="Picture 23" descr="Large animated South African flag clip art for a white background">
            <a:extLst>
              <a:ext uri="{FF2B5EF4-FFF2-40B4-BE49-F238E27FC236}">
                <a16:creationId xmlns:a16="http://schemas.microsoft.com/office/drawing/2014/main" id="{5FC564AA-9D13-A84E-7CC4-A98EA112C2F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24328" y="79291"/>
            <a:ext cx="1295401" cy="9715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E2D5114-2177-1356-73AA-56E2DF614395}"/>
              </a:ext>
            </a:extLst>
          </p:cNvPr>
          <p:cNvSpPr txBox="1"/>
          <p:nvPr/>
        </p:nvSpPr>
        <p:spPr>
          <a:xfrm>
            <a:off x="467544" y="1628800"/>
            <a:ext cx="8208912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fr-FR" sz="1400" b="0" i="0" u="none" strike="noStrike" baseline="0" dirty="0">
              <a:latin typeface="Times New Roman" panose="02020603050405020304" pitchFamily="18" charset="0"/>
            </a:endParaRPr>
          </a:p>
          <a:p>
            <a:pPr lvl="1"/>
            <a:endParaRPr lang="fr-FR" sz="1000" b="0" i="0" u="none" strike="noStrike" baseline="0" dirty="0">
              <a:latin typeface="Times New Roman" panose="02020603050405020304" pitchFamily="18" charset="0"/>
            </a:endParaRPr>
          </a:p>
          <a:p>
            <a:endParaRPr lang="fr-FR" sz="1000" b="0" i="0" u="none" strike="noStrike" baseline="0" dirty="0">
              <a:latin typeface="Times New Roman" panose="02020603050405020304" pitchFamily="18" charset="0"/>
            </a:endParaRPr>
          </a:p>
          <a:p>
            <a:pPr marR="2790" algn="ctr"/>
            <a:r>
              <a:rPr lang="en-US" sz="1200" b="1" i="0" u="none" strike="noStrike" baseline="0" dirty="0">
                <a:latin typeface="Calibri" panose="020F0502020204030204" pitchFamily="34" charset="0"/>
              </a:rPr>
              <a:t>Stop TB’s Global Drug Facility Announces Historic Price Reductions up to 55% for</a:t>
            </a:r>
          </a:p>
          <a:p>
            <a:pPr marR="2700" algn="ctr"/>
            <a:r>
              <a:rPr lang="en-US" sz="1200" b="1" i="0" u="none" strike="noStrike" baseline="0" dirty="0">
                <a:latin typeface="Calibri" panose="020F0502020204030204" pitchFamily="34" charset="0"/>
              </a:rPr>
              <a:t>Bedaquiline, a Life-Saving Drug to Treat Drug-Resistant TB</a:t>
            </a:r>
          </a:p>
          <a:p>
            <a:pPr marR="2790" algn="ctr"/>
            <a:r>
              <a:rPr lang="en-US" sz="1200" b="0" i="0" u="none" strike="noStrike" baseline="0" dirty="0">
                <a:latin typeface="Calibri" panose="020F0502020204030204" pitchFamily="34" charset="0"/>
              </a:rPr>
              <a:t>Treatment regimens for drug resistant TB will see a price drop up to 29%</a:t>
            </a:r>
          </a:p>
          <a:p>
            <a:pPr marR="2750" algn="ctr"/>
            <a:r>
              <a:rPr lang="en-US" sz="1100" b="1" i="0" u="none" strike="noStrike" baseline="0" dirty="0">
                <a:solidFill>
                  <a:srgbClr val="FF0000"/>
                </a:solidFill>
                <a:latin typeface="Calibri" panose="020F0502020204030204" pitchFamily="34" charset="0"/>
              </a:rPr>
              <a:t>Embargoed until 10:00 EST / 16:00 CEST on Wednesday 30th August</a:t>
            </a:r>
          </a:p>
          <a:p>
            <a:r>
              <a:rPr lang="en-US" sz="1100" b="1" i="0" u="none" strike="noStrike" baseline="0" dirty="0">
                <a:latin typeface="Calibri" panose="020F0502020204030204" pitchFamily="34" charset="0"/>
              </a:rPr>
              <a:t>GENEVA, 30 August, 2023: </a:t>
            </a:r>
            <a:r>
              <a:rPr lang="en-US" sz="1100" b="0" i="0" u="none" strike="noStrike" baseline="0" dirty="0">
                <a:latin typeface="Calibri" panose="020F0502020204030204" pitchFamily="34" charset="0"/>
              </a:rPr>
              <a:t>The Stop TB Partnership’s Global Drug Facility (GDF) today announced</a:t>
            </a:r>
          </a:p>
          <a:p>
            <a:r>
              <a:rPr lang="en-US" sz="1100" b="0" i="0" u="none" strike="noStrike" baseline="0" dirty="0">
                <a:latin typeface="Calibri" panose="020F0502020204030204" pitchFamily="34" charset="0"/>
              </a:rPr>
              <a:t>price reductions up to 55% for bedaquiline, a critical drug used to treat drug-resistant TB (DR-TB).</a:t>
            </a:r>
          </a:p>
          <a:p>
            <a:pPr marR="4050"/>
            <a:r>
              <a:rPr lang="en-US" sz="1100" b="0" i="0" u="none" strike="noStrike" baseline="0" dirty="0">
                <a:latin typeface="Calibri" panose="020F0502020204030204" pitchFamily="34" charset="0"/>
              </a:rPr>
              <a:t>The new, reduced bedaquiline prices - secured through an open, competitive tender and valid through December 2024 - are as follows:</a:t>
            </a:r>
          </a:p>
          <a:p>
            <a:r>
              <a:rPr lang="en-US" sz="1100" b="0" i="0" u="none" strike="noStrike" baseline="0" dirty="0">
                <a:latin typeface="Calibri" panose="020F0502020204030204" pitchFamily="34" charset="0"/>
              </a:rPr>
              <a:t>Johnson &amp; Johnson: US$130 per 6-month treatment course</a:t>
            </a:r>
          </a:p>
          <a:p>
            <a:r>
              <a:rPr lang="en-US" sz="1100" b="0" i="0" u="none" strike="noStrike" baseline="0" dirty="0">
                <a:latin typeface="Calibri" panose="020F0502020204030204" pitchFamily="34" charset="0"/>
              </a:rPr>
              <a:t>Lupin: US$194 per 6-month treatment course</a:t>
            </a:r>
          </a:p>
        </p:txBody>
      </p:sp>
    </p:spTree>
    <p:extLst>
      <p:ext uri="{BB962C8B-B14F-4D97-AF65-F5344CB8AC3E}">
        <p14:creationId xmlns:p14="http://schemas.microsoft.com/office/powerpoint/2010/main" val="232683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B6921-6D7E-A851-9DD0-146E8D35A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B2C3D2-C8F3-2619-1839-6DB6D7923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836712"/>
            <a:ext cx="3449256" cy="49018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D30186-555E-1AE9-A170-27D9AAF50F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829369"/>
            <a:ext cx="3611301" cy="490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75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C90B27-4AB0-5C63-271E-E5BCD65CE1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17129"/>
            <a:ext cx="9144000" cy="422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81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BF02B5-4730-03B4-4247-7F0A44B6A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17129"/>
            <a:ext cx="9144000" cy="422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1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F811E-F578-0C6D-55F4-A9B517A1B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292" y="0"/>
            <a:ext cx="7122020" cy="10527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000" b="1" u="none" dirty="0">
                <a:solidFill>
                  <a:schemeClr val="accent6"/>
                </a:solidFill>
                <a:latin typeface="+mn-lt"/>
              </a:rPr>
              <a:t>Conclu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C08473-E678-1353-1E84-60409EC98A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292" y="1331414"/>
            <a:ext cx="8634487" cy="4672110"/>
          </a:xfrm>
        </p:spPr>
        <p:txBody>
          <a:bodyPr/>
          <a:lstStyle/>
          <a:p>
            <a:endParaRPr lang="en-US" sz="1800" dirty="0">
              <a:latin typeface="+mn-lt"/>
            </a:endParaRPr>
          </a:p>
          <a:p>
            <a:r>
              <a:rPr lang="en-US" sz="1800" dirty="0">
                <a:latin typeface="+mn-lt"/>
              </a:rPr>
              <a:t>Bedaquiline GDF price reduction was negotiated by Dr Aaron </a:t>
            </a:r>
            <a:r>
              <a:rPr lang="en-US" sz="1800" dirty="0" err="1">
                <a:latin typeface="+mn-lt"/>
              </a:rPr>
              <a:t>Motswaledi</a:t>
            </a:r>
            <a:endParaRPr lang="en-US" sz="1800" dirty="0">
              <a:latin typeface="+mn-lt"/>
            </a:endParaRPr>
          </a:p>
          <a:p>
            <a:r>
              <a:rPr lang="en-US" sz="1800" dirty="0">
                <a:latin typeface="+mn-lt"/>
              </a:rPr>
              <a:t>The initial price was $ USD 750</a:t>
            </a:r>
          </a:p>
          <a:p>
            <a:r>
              <a:rPr lang="en-US" sz="1800" dirty="0">
                <a:latin typeface="+mn-lt"/>
              </a:rPr>
              <a:t>It was reduced to $ USD 400 in July 2028</a:t>
            </a:r>
          </a:p>
          <a:p>
            <a:r>
              <a:rPr lang="en-US" sz="1800" dirty="0">
                <a:latin typeface="+mn-lt"/>
              </a:rPr>
              <a:t>This was R 5,400 in RSA</a:t>
            </a:r>
          </a:p>
          <a:p>
            <a:r>
              <a:rPr lang="en-US" sz="1800" dirty="0">
                <a:latin typeface="+mn-lt"/>
              </a:rPr>
              <a:t>Prior to that the price was R 9,900</a:t>
            </a:r>
          </a:p>
          <a:p>
            <a:r>
              <a:rPr lang="en-US" sz="1800" dirty="0">
                <a:latin typeface="+mn-lt"/>
              </a:rPr>
              <a:t>Despite the R/$ exchange variation the price remained the same in Rands</a:t>
            </a:r>
          </a:p>
          <a:p>
            <a:r>
              <a:rPr lang="en-US" sz="1800" dirty="0">
                <a:latin typeface="+mn-lt"/>
              </a:rPr>
              <a:t>Recently the price increased to R 5,500 with effect from October 1</a:t>
            </a:r>
            <a:r>
              <a:rPr lang="en-US" sz="1800" baseline="30000" dirty="0">
                <a:latin typeface="+mn-lt"/>
              </a:rPr>
              <a:t>st</a:t>
            </a:r>
            <a:r>
              <a:rPr lang="en-US" sz="1800" dirty="0">
                <a:latin typeface="+mn-lt"/>
              </a:rPr>
              <a:t>, 2023</a:t>
            </a:r>
          </a:p>
          <a:p>
            <a:r>
              <a:rPr lang="en-US" sz="1800" dirty="0">
                <a:latin typeface="+mn-lt"/>
              </a:rPr>
              <a:t>The Affordable Medicines Cluster is working on this matter as well as the Competition Commission</a:t>
            </a:r>
          </a:p>
          <a:p>
            <a:endParaRPr lang="en-ZA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424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650B09-82D9-4B4F-AEA9-EFEA7A9A6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999" y="2953839"/>
            <a:ext cx="9001001" cy="681541"/>
          </a:xfrm>
        </p:spPr>
        <p:txBody>
          <a:bodyPr/>
          <a:lstStyle/>
          <a:p>
            <a:r>
              <a:rPr lang="en-US" sz="6375" dirty="0">
                <a:latin typeface="Cochocib Script Latin Pro" panose="020B0604020202020204" pitchFamily="2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2370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H="1">
            <a:off x="439738" y="2057400"/>
            <a:ext cx="8247062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201194" y="1592263"/>
            <a:ext cx="2741612" cy="4665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201738"/>
            <a:r>
              <a:rPr lang="en-US" dirty="0"/>
              <a:t>BDQ Antibacterial Spectrum</a:t>
            </a:r>
            <a:endParaRPr lang="en-AU" dirty="0"/>
          </a:p>
        </p:txBody>
      </p:sp>
      <p:sp>
        <p:nvSpPr>
          <p:cNvPr id="734215" name="Text Box 7"/>
          <p:cNvSpPr txBox="1">
            <a:spLocks noChangeArrowheads="1"/>
          </p:cNvSpPr>
          <p:nvPr/>
        </p:nvSpPr>
        <p:spPr bwMode="auto">
          <a:xfrm>
            <a:off x="3227388" y="5789613"/>
            <a:ext cx="2741612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defRPr/>
            </a:pPr>
            <a:endParaRPr lang="en-AU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3322638" y="1641475"/>
          <a:ext cx="2498725" cy="167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SIS/Draw Sketch" r:id="rId3" imgW="3622320" imgH="2364120" progId="">
                  <p:embed/>
                </p:oleObj>
              </mc:Choice>
              <mc:Fallback>
                <p:oleObj name="ISIS/Draw Sketch" r:id="rId3" imgW="3622320" imgH="2364120" progId="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22638" y="1641475"/>
                        <a:ext cx="2498725" cy="1673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>
                        <a:outerShdw dist="17961" dir="2700000" algn="ctr" rotWithShape="0">
                          <a:schemeClr val="bg2"/>
                        </a:outerShdw>
                      </a:effectLst>
                      <a:extLst>
                        <a:ext uri="{909E8E84-426E-40DD-AFC4-6F175D3DCCD1}">
                          <a14:hiddenFill xmlns:a14="http://schemas.microsoft.com/office/drawing/2010/main">
                            <a:gradFill rotWithShape="0">
                              <a:gsLst>
                                <a:gs pos="0">
                                  <a:srgbClr val="F9002C"/>
                                </a:gs>
                                <a:gs pos="100000">
                                  <a:srgbClr val="320009"/>
                                </a:gs>
                              </a:gsLst>
                              <a:lin ang="5400000" scaled="1"/>
                            </a:gradFill>
                          </a14:hiddenFill>
                        </a:ext>
                        <a:ext uri="{91240B29-F687-4F45-9708-019B960494DF}">
                          <a14:hiddenLine xmlns:a14="http://schemas.microsoft.com/office/drawing/2010/main" w="2857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51" name="Object 3"/>
          <p:cNvGraphicFramePr>
            <a:graphicFrameLocks noChangeAspect="1"/>
          </p:cNvGraphicFramePr>
          <p:nvPr/>
        </p:nvGraphicFramePr>
        <p:xfrm>
          <a:off x="3292475" y="4187825"/>
          <a:ext cx="2559050" cy="207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Photo Editor Photo" r:id="rId5" imgW="7219048" imgH="5838095" progId="">
                  <p:embed/>
                </p:oleObj>
              </mc:Choice>
              <mc:Fallback>
                <p:oleObj name="Photo Editor Photo" r:id="rId5" imgW="7219048" imgH="5838095" progId="">
                  <p:embed/>
                  <p:pic>
                    <p:nvPicPr>
                      <p:cNvPr id="2051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92475" y="4187825"/>
                        <a:ext cx="2559050" cy="207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gradFill rotWithShape="0">
                              <a:gsLst>
                                <a:gs pos="0">
                                  <a:srgbClr val="F9002C"/>
                                </a:gs>
                                <a:gs pos="100000">
                                  <a:srgbClr val="320009"/>
                                </a:gs>
                              </a:gsLst>
                              <a:lin ang="5400000" scaled="1"/>
                            </a:gradFill>
                          </a14:hiddenFill>
                        </a:ext>
                        <a:ext uri="{91240B29-F687-4F45-9708-019B960494DF}">
                          <a14:hiddenLine xmlns:a14="http://schemas.microsoft.com/office/drawing/2010/main" w="2857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3" name="Text Box 17"/>
          <p:cNvSpPr txBox="1">
            <a:spLocks noChangeArrowheads="1"/>
          </p:cNvSpPr>
          <p:nvPr/>
        </p:nvSpPr>
        <p:spPr bwMode="auto">
          <a:xfrm>
            <a:off x="0" y="6580359"/>
            <a:ext cx="2779607" cy="277641"/>
          </a:xfrm>
          <a:prstGeom prst="rect">
            <a:avLst/>
          </a:prstGeom>
          <a:noFill/>
          <a:ln>
            <a:noFill/>
          </a:ln>
        </p:spPr>
        <p:txBody>
          <a:bodyPr wrap="none" lIns="92075" tIns="46038" rIns="92075" bIns="46038">
            <a:spAutoFit/>
          </a:bodyPr>
          <a:lstStyle>
            <a:lvl1pPr>
              <a:defRPr sz="1000" b="1">
                <a:solidFill>
                  <a:schemeClr val="bg2"/>
                </a:solidFill>
                <a:latin typeface="Arial" pitchFamily="34" charset="0"/>
              </a:defRPr>
            </a:lvl1pPr>
            <a:lvl2pPr marL="742950" indent="-285750">
              <a:defRPr sz="1000" b="1">
                <a:solidFill>
                  <a:schemeClr val="bg2"/>
                </a:solidFill>
                <a:latin typeface="Arial" pitchFamily="34" charset="0"/>
              </a:defRPr>
            </a:lvl2pPr>
            <a:lvl3pPr marL="11430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3pPr>
            <a:lvl4pPr marL="16002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AU" sz="1200" b="0" dirty="0" err="1">
                <a:solidFill>
                  <a:srgbClr val="000000"/>
                </a:solidFill>
              </a:rPr>
              <a:t>Andries</a:t>
            </a:r>
            <a:r>
              <a:rPr lang="en-AU" sz="1200" b="0" dirty="0">
                <a:solidFill>
                  <a:srgbClr val="000000"/>
                </a:solidFill>
              </a:rPr>
              <a:t> et al, Science 2005, 307, 22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703" y="2250281"/>
            <a:ext cx="2667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  <a:buClr>
                <a:srgbClr val="969696"/>
              </a:buClr>
              <a:defRPr/>
            </a:pPr>
            <a:r>
              <a:rPr lang="en-US" b="1" dirty="0">
                <a:solidFill>
                  <a:srgbClr val="000000"/>
                </a:solidFill>
              </a:rPr>
              <a:t>MIC 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</a:t>
            </a:r>
            <a:r>
              <a:rPr lang="en-US" b="1" dirty="0">
                <a:solidFill>
                  <a:srgbClr val="000000"/>
                </a:solidFill>
              </a:rPr>
              <a:t>4 </a:t>
            </a:r>
            <a:r>
              <a:rPr lang="en-US" b="1" dirty="0">
                <a:solidFill>
                  <a:srgbClr val="000000"/>
                </a:solidFill>
                <a:latin typeface="Symbol" pitchFamily="18" charset="2"/>
                <a:sym typeface="Symbol" pitchFamily="18" charset="2"/>
              </a:rPr>
              <a:t>m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g/</a:t>
            </a:r>
            <a:r>
              <a:rPr lang="en-US" b="1" dirty="0" err="1">
                <a:solidFill>
                  <a:srgbClr val="000000"/>
                </a:solidFill>
                <a:sym typeface="Symbol" pitchFamily="18" charset="2"/>
              </a:rPr>
              <a:t>mL</a:t>
            </a:r>
            <a:endParaRPr lang="en-US" b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H. pylori</a:t>
            </a: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Str. </a:t>
            </a:r>
            <a:r>
              <a:rPr lang="en-US" i="1" dirty="0" err="1">
                <a:solidFill>
                  <a:srgbClr val="000000"/>
                </a:solidFill>
              </a:rPr>
              <a:t>pyogenes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St. </a:t>
            </a:r>
            <a:r>
              <a:rPr lang="en-US" i="1" dirty="0" err="1">
                <a:solidFill>
                  <a:srgbClr val="000000"/>
                </a:solidFill>
              </a:rPr>
              <a:t>aureus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S. </a:t>
            </a:r>
            <a:r>
              <a:rPr lang="en-US" i="1" dirty="0" err="1">
                <a:solidFill>
                  <a:srgbClr val="000000"/>
                </a:solidFill>
              </a:rPr>
              <a:t>typhimurium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S. </a:t>
            </a:r>
            <a:r>
              <a:rPr lang="en-US" i="1" dirty="0" err="1">
                <a:solidFill>
                  <a:srgbClr val="000000"/>
                </a:solidFill>
              </a:rPr>
              <a:t>pneumoniae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E. coli</a:t>
            </a: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E. </a:t>
            </a:r>
            <a:r>
              <a:rPr lang="en-US" i="1" dirty="0" err="1">
                <a:solidFill>
                  <a:srgbClr val="000000"/>
                </a:solidFill>
              </a:rPr>
              <a:t>faecalis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E. </a:t>
            </a:r>
            <a:r>
              <a:rPr lang="en-US" i="1" dirty="0" err="1">
                <a:solidFill>
                  <a:srgbClr val="000000"/>
                </a:solidFill>
              </a:rPr>
              <a:t>faecium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P. </a:t>
            </a:r>
            <a:r>
              <a:rPr lang="en-US" i="1" dirty="0" err="1">
                <a:solidFill>
                  <a:srgbClr val="000000"/>
                </a:solidFill>
              </a:rPr>
              <a:t>aeruginosa</a:t>
            </a:r>
            <a:endParaRPr lang="en-US" i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H. </a:t>
            </a:r>
            <a:r>
              <a:rPr lang="en-US" i="1" dirty="0" err="1">
                <a:solidFill>
                  <a:srgbClr val="000000"/>
                </a:solidFill>
              </a:rPr>
              <a:t>influenzae</a:t>
            </a:r>
            <a:endParaRPr lang="en-AU" i="1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9738" y="1688068"/>
            <a:ext cx="2761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Non-mycobacteria: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237975" y="1688068"/>
            <a:ext cx="24553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Mycobacteria: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48400" y="2250281"/>
            <a:ext cx="2444931" cy="3305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MIC 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</a:t>
            </a:r>
            <a:r>
              <a:rPr lang="en-US" b="1" dirty="0">
                <a:solidFill>
                  <a:srgbClr val="000000"/>
                </a:solidFill>
              </a:rPr>
              <a:t>0.063 </a:t>
            </a:r>
            <a:r>
              <a:rPr lang="en-US" b="1" dirty="0">
                <a:solidFill>
                  <a:srgbClr val="000000"/>
                </a:solidFill>
                <a:latin typeface="Symbol" pitchFamily="18" charset="2"/>
                <a:sym typeface="Symbol" pitchFamily="18" charset="2"/>
              </a:rPr>
              <a:t>m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g/</a:t>
            </a:r>
            <a:r>
              <a:rPr lang="en-US" b="1" dirty="0" err="1">
                <a:solidFill>
                  <a:srgbClr val="000000"/>
                </a:solidFill>
                <a:sym typeface="Symbol" pitchFamily="18" charset="2"/>
              </a:rPr>
              <a:t>mL</a:t>
            </a:r>
            <a:endParaRPr lang="en-US" b="1" dirty="0">
              <a:solidFill>
                <a:srgbClr val="000000"/>
              </a:solidFill>
              <a:sym typeface="Symbol" pitchFamily="18" charset="2"/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i="1" dirty="0">
                <a:solidFill>
                  <a:srgbClr val="000000"/>
                </a:solidFill>
              </a:rPr>
              <a:t>M. tuberculosis</a:t>
            </a:r>
            <a:br>
              <a:rPr lang="en-US" i="1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DS-TB, MDR-TB</a:t>
            </a: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</a:rPr>
              <a:t>21 other species</a:t>
            </a: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>
                <a:srgbClr val="001E77"/>
              </a:buClr>
              <a:buSzPct val="100000"/>
              <a:defRPr/>
            </a:pPr>
            <a:r>
              <a:rPr lang="en-US" b="1" dirty="0">
                <a:solidFill>
                  <a:srgbClr val="000000"/>
                </a:solidFill>
              </a:rPr>
              <a:t>MIC 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0.12-0.50 </a:t>
            </a:r>
            <a:r>
              <a:rPr lang="en-US" b="1" dirty="0">
                <a:solidFill>
                  <a:srgbClr val="000000"/>
                </a:solidFill>
                <a:latin typeface="Symbol" pitchFamily="18" charset="2"/>
                <a:sym typeface="Symbol" pitchFamily="18" charset="2"/>
              </a:rPr>
              <a:t>m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g/</a:t>
            </a:r>
            <a:r>
              <a:rPr lang="en-US" b="1" dirty="0" err="1">
                <a:solidFill>
                  <a:srgbClr val="000000"/>
                </a:solidFill>
                <a:sym typeface="Symbol" pitchFamily="18" charset="2"/>
              </a:rPr>
              <a:t>mL</a:t>
            </a:r>
            <a:endParaRPr lang="en-US" b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</a:rPr>
              <a:t>3 other species</a:t>
            </a: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>
                <a:srgbClr val="001E77"/>
              </a:buClr>
              <a:buSzPct val="100000"/>
              <a:defRPr/>
            </a:pPr>
            <a:r>
              <a:rPr lang="en-US" b="1" dirty="0">
                <a:solidFill>
                  <a:srgbClr val="000000"/>
                </a:solidFill>
              </a:rPr>
              <a:t>MIC 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4-8 </a:t>
            </a:r>
            <a:r>
              <a:rPr lang="en-US" b="1" dirty="0">
                <a:solidFill>
                  <a:srgbClr val="000000"/>
                </a:solidFill>
                <a:latin typeface="Symbol" pitchFamily="18" charset="2"/>
                <a:sym typeface="Symbol" pitchFamily="18" charset="2"/>
              </a:rPr>
              <a:t>m</a:t>
            </a:r>
            <a:r>
              <a:rPr lang="en-US" b="1" dirty="0">
                <a:solidFill>
                  <a:srgbClr val="000000"/>
                </a:solidFill>
                <a:sym typeface="Symbol" pitchFamily="18" charset="2"/>
              </a:rPr>
              <a:t>g/</a:t>
            </a:r>
            <a:r>
              <a:rPr lang="en-US" b="1" dirty="0" err="1">
                <a:solidFill>
                  <a:srgbClr val="000000"/>
                </a:solidFill>
                <a:sym typeface="Symbol" pitchFamily="18" charset="2"/>
              </a:rPr>
              <a:t>mL</a:t>
            </a:r>
            <a:endParaRPr lang="en-US" b="1" dirty="0">
              <a:solidFill>
                <a:srgbClr val="000000"/>
              </a:solidFill>
            </a:endParaRPr>
          </a:p>
          <a:p>
            <a:pPr marL="285750" indent="-285750">
              <a:spcBef>
                <a:spcPct val="20000"/>
              </a:spcBef>
              <a:buClr>
                <a:srgbClr val="001E77"/>
              </a:buClr>
              <a:buSzPct val="10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</a:rPr>
              <a:t>3 other specie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03"/>
          <a:stretch/>
        </p:blipFill>
        <p:spPr>
          <a:xfrm>
            <a:off x="464820" y="320040"/>
            <a:ext cx="1165860" cy="822960"/>
          </a:xfrm>
          <a:prstGeom prst="rect">
            <a:avLst/>
          </a:prstGeom>
          <a:ln w="19050">
            <a:solidFill>
              <a:schemeClr val="bg1"/>
            </a:solidFill>
            <a:miter lim="800000"/>
          </a:ln>
        </p:spPr>
      </p:pic>
      <p:sp>
        <p:nvSpPr>
          <p:cNvPr id="2062" name="Text Box 16"/>
          <p:cNvSpPr txBox="1">
            <a:spLocks noChangeArrowheads="1"/>
          </p:cNvSpPr>
          <p:nvPr/>
        </p:nvSpPr>
        <p:spPr bwMode="invGray">
          <a:xfrm>
            <a:off x="3897937" y="3276600"/>
            <a:ext cx="1348126" cy="831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 sz="1000" b="1">
                <a:solidFill>
                  <a:schemeClr val="bg2"/>
                </a:solidFill>
                <a:latin typeface="Arial" pitchFamily="34" charset="0"/>
              </a:defRPr>
            </a:lvl1pPr>
            <a:lvl2pPr marL="742950" indent="-285750">
              <a:defRPr sz="1000" b="1">
                <a:solidFill>
                  <a:schemeClr val="bg2"/>
                </a:solidFill>
                <a:latin typeface="Arial" pitchFamily="34" charset="0"/>
              </a:defRPr>
            </a:lvl2pPr>
            <a:lvl3pPr marL="11430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3pPr>
            <a:lvl4pPr marL="16002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FFFF"/>
                </a:solidFill>
              </a:rPr>
              <a:t>R207910 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TMC207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bedaquiline</a:t>
            </a:r>
          </a:p>
        </p:txBody>
      </p:sp>
    </p:spTree>
    <p:extLst>
      <p:ext uri="{BB962C8B-B14F-4D97-AF65-F5344CB8AC3E}">
        <p14:creationId xmlns:p14="http://schemas.microsoft.com/office/powerpoint/2010/main" val="337224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0" y="6580359"/>
            <a:ext cx="2761975" cy="277641"/>
          </a:xfrm>
          <a:prstGeom prst="rect">
            <a:avLst/>
          </a:prstGeom>
          <a:noFill/>
          <a:ln>
            <a:noFill/>
          </a:ln>
        </p:spPr>
        <p:txBody>
          <a:bodyPr wrap="none" lIns="92075" tIns="46038" rIns="92075" bIns="46038">
            <a:spAutoFit/>
          </a:bodyPr>
          <a:lstStyle>
            <a:lvl1pPr>
              <a:defRPr sz="1000" b="1">
                <a:solidFill>
                  <a:schemeClr val="bg2"/>
                </a:solidFill>
                <a:latin typeface="Arial" pitchFamily="34" charset="0"/>
              </a:defRPr>
            </a:lvl1pPr>
            <a:lvl2pPr marL="742950" indent="-285750">
              <a:defRPr sz="1000" b="1">
                <a:solidFill>
                  <a:schemeClr val="bg2"/>
                </a:solidFill>
                <a:latin typeface="Arial" pitchFamily="34" charset="0"/>
              </a:defRPr>
            </a:lvl2pPr>
            <a:lvl3pPr marL="11430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3pPr>
            <a:lvl4pPr marL="16002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>
              <a:defRPr sz="1000" b="1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1000" b="1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AU" sz="1200" b="0" dirty="0">
                <a:solidFill>
                  <a:srgbClr val="000000"/>
                </a:solidFill>
              </a:rPr>
              <a:t>Adapted from Science 2005, 307, 214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75" y="2971800"/>
            <a:ext cx="3314286" cy="368571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390650"/>
            <a:ext cx="3676650" cy="1581150"/>
          </a:xfrm>
          <a:prstGeom prst="rect">
            <a:avLst/>
          </a:prstGeom>
        </p:spPr>
      </p:pic>
      <p:sp>
        <p:nvSpPr>
          <p:cNvPr id="307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195388"/>
            <a:r>
              <a:rPr lang="en-GB" dirty="0"/>
              <a:t>Mechanism of Action</a:t>
            </a:r>
          </a:p>
        </p:txBody>
      </p:sp>
      <p:sp>
        <p:nvSpPr>
          <p:cNvPr id="754690" name="Rectangle 2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41838" y="1506538"/>
            <a:ext cx="4144962" cy="2608262"/>
          </a:xfrm>
        </p:spPr>
        <p:txBody>
          <a:bodyPr lIns="91440" tIns="45720" rIns="91440" bIns="45720">
            <a:spAutoFit/>
          </a:bodyPr>
          <a:lstStyle/>
          <a:p>
            <a:pPr marL="0" indent="0" algn="ctr">
              <a:buFont typeface="Wingdings" pitchFamily="2" charset="2"/>
              <a:buNone/>
              <a:defRPr/>
            </a:pPr>
            <a:r>
              <a:rPr lang="en-US" sz="2000" dirty="0"/>
              <a:t>I</a:t>
            </a:r>
            <a:r>
              <a:rPr lang="en-AU" sz="2000" dirty="0"/>
              <a:t>n strains resistant to </a:t>
            </a:r>
            <a:r>
              <a:rPr lang="en-US" sz="2000" dirty="0"/>
              <a:t>bedaquiline, </a:t>
            </a:r>
            <a:r>
              <a:rPr lang="en-AU" sz="2000" dirty="0"/>
              <a:t>mutations </a:t>
            </a:r>
            <a:r>
              <a:rPr lang="en-US" sz="2000" dirty="0"/>
              <a:t>were </a:t>
            </a:r>
            <a:r>
              <a:rPr lang="en-AU" sz="2000" dirty="0"/>
              <a:t>identified in the gene coding for </a:t>
            </a:r>
            <a:r>
              <a:rPr lang="en-AU" sz="2000" b="1" dirty="0">
                <a:solidFill>
                  <a:schemeClr val="accent1"/>
                </a:solidFill>
              </a:rPr>
              <a:t>ATP synthase</a:t>
            </a:r>
            <a:endParaRPr lang="en-US" sz="2000" b="1" dirty="0">
              <a:solidFill>
                <a:schemeClr val="accent1"/>
              </a:solidFill>
            </a:endParaRPr>
          </a:p>
          <a:p>
            <a:pPr marL="0" indent="0" algn="ctr">
              <a:buNone/>
              <a:defRPr/>
            </a:pPr>
            <a:endParaRPr lang="fr-FR" sz="1600" dirty="0">
              <a:solidFill>
                <a:schemeClr val="folHlink"/>
              </a:solidFill>
            </a:endParaRPr>
          </a:p>
          <a:p>
            <a:pPr marL="0" indent="0" algn="ctr">
              <a:buNone/>
              <a:defRPr/>
            </a:pPr>
            <a:endParaRPr lang="fr-FR" sz="1600" dirty="0">
              <a:solidFill>
                <a:schemeClr val="folHlink"/>
              </a:solidFill>
            </a:endParaRPr>
          </a:p>
          <a:p>
            <a:pPr marL="0" indent="0" algn="ctr">
              <a:buNone/>
              <a:defRPr/>
            </a:pPr>
            <a:endParaRPr lang="fr-FR" sz="1600" dirty="0"/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fr-FR" sz="2000" dirty="0" err="1"/>
              <a:t>Provides</a:t>
            </a:r>
            <a:r>
              <a:rPr lang="fr-FR" sz="2000" dirty="0"/>
              <a:t> </a:t>
            </a:r>
            <a:r>
              <a:rPr lang="fr-FR" sz="2000" dirty="0" err="1"/>
              <a:t>energy</a:t>
            </a:r>
            <a:r>
              <a:rPr lang="fr-FR" sz="2000" dirty="0"/>
              <a:t> (ATP) </a:t>
            </a:r>
            <a:r>
              <a:rPr lang="fr-FR" sz="2000" dirty="0" err="1"/>
              <a:t>from</a:t>
            </a:r>
            <a:r>
              <a:rPr lang="fr-FR" sz="2000" dirty="0"/>
              <a:t> a </a:t>
            </a:r>
            <a:r>
              <a:rPr lang="fr-FR" sz="2000" dirty="0" err="1"/>
              <a:t>trans</a:t>
            </a:r>
            <a:r>
              <a:rPr lang="fr-FR" sz="2000" dirty="0"/>
              <a:t>-membrane proton gradient</a:t>
            </a:r>
            <a:endParaRPr lang="en-US" sz="2000" dirty="0"/>
          </a:p>
        </p:txBody>
      </p:sp>
      <p:grpSp>
        <p:nvGrpSpPr>
          <p:cNvPr id="20" name="Group 19"/>
          <p:cNvGrpSpPr/>
          <p:nvPr/>
        </p:nvGrpSpPr>
        <p:grpSpPr>
          <a:xfrm>
            <a:off x="1826003" y="2426794"/>
            <a:ext cx="365760" cy="790387"/>
            <a:chOff x="1826003" y="2426794"/>
            <a:chExt cx="365760" cy="79038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Oval 4"/>
            <p:cNvSpPr/>
            <p:nvPr/>
          </p:nvSpPr>
          <p:spPr>
            <a:xfrm>
              <a:off x="1826003" y="2426794"/>
              <a:ext cx="365760" cy="365760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  <a:effec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Arrow Connector 6"/>
            <p:cNvCxnSpPr>
              <a:stCxn id="5" idx="4"/>
            </p:cNvCxnSpPr>
            <p:nvPr/>
          </p:nvCxnSpPr>
          <p:spPr>
            <a:xfrm flipH="1">
              <a:off x="1990725" y="2792554"/>
              <a:ext cx="18158" cy="424627"/>
            </a:xfrm>
            <a:prstGeom prst="straightConnector1">
              <a:avLst/>
            </a:prstGeom>
            <a:ln w="38100">
              <a:solidFill>
                <a:srgbClr val="FF0000"/>
              </a:solidFill>
              <a:miter lim="800000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ight Arrow 31"/>
          <p:cNvSpPr/>
          <p:nvPr/>
        </p:nvSpPr>
        <p:spPr>
          <a:xfrm rot="5400000">
            <a:off x="6218237" y="2656742"/>
            <a:ext cx="762000" cy="45720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0800000" scaled="1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05"/>
          <a:stretch/>
        </p:blipFill>
        <p:spPr>
          <a:xfrm>
            <a:off x="457200" y="320040"/>
            <a:ext cx="1168147" cy="822960"/>
          </a:xfrm>
          <a:prstGeom prst="rect">
            <a:avLst/>
          </a:prstGeom>
          <a:ln w="19050">
            <a:solidFill>
              <a:schemeClr val="bg1"/>
            </a:solidFill>
            <a:miter lim="800000"/>
          </a:ln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70637" y="4267200"/>
            <a:ext cx="2468563" cy="19764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3083" name="Line 10"/>
          <p:cNvSpPr>
            <a:spLocks noChangeShapeType="1"/>
          </p:cNvSpPr>
          <p:nvPr/>
        </p:nvSpPr>
        <p:spPr bwMode="gray">
          <a:xfrm rot="15624246" flipH="1">
            <a:off x="4205872" y="2976587"/>
            <a:ext cx="123450" cy="4597493"/>
          </a:xfrm>
          <a:prstGeom prst="line">
            <a:avLst/>
          </a:prstGeom>
          <a:ln w="38100">
            <a:solidFill>
              <a:srgbClr val="FF0000"/>
            </a:solidFill>
            <a:miter lim="800000"/>
            <a:tailEnd type="triangl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2075" tIns="46038" rIns="92075" bIns="46038">
            <a:spAutoFit/>
          </a:bodyPr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20"/>
          <p:cNvSpPr>
            <a:spLocks noChangeAspect="1"/>
          </p:cNvSpPr>
          <p:nvPr/>
        </p:nvSpPr>
        <p:spPr>
          <a:xfrm rot="5400000">
            <a:off x="3617632" y="4475464"/>
            <a:ext cx="1879911" cy="1448626"/>
          </a:xfrm>
          <a:prstGeom prst="roundRect">
            <a:avLst/>
          </a:prstGeom>
          <a:solidFill>
            <a:schemeClr val="tx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947" y="4343400"/>
            <a:ext cx="1097280" cy="1706070"/>
          </a:xfrm>
          <a:prstGeom prst="rect">
            <a:avLst/>
          </a:prstGeom>
          <a:ln w="28575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99070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5219498-D544-41AC-98FE-8F956EF66A6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77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00DBFC-17A9-4E0A-AEE2-A49F9AEEF0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8" y="0"/>
            <a:ext cx="91437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16539-BA4C-4D12-80B4-37A9F692A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504" y="4267832"/>
            <a:ext cx="3604497" cy="1297115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sz="3500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VIDENCE BASED PRACTI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38A393-852F-4253-9AC3-B5DD157CE9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504" y="3428999"/>
            <a:ext cx="3604268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1700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74613BB-817C-4C4F-8A24-4936F2F064C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575767" y="52996"/>
            <a:ext cx="4570022" cy="6805005"/>
            <a:chOff x="6101023" y="52996"/>
            <a:chExt cx="6093363" cy="6805005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26C820D-9A01-44F0-AE18-C2DAB089B8C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3517682 w 5890490"/>
                <a:gd name="connsiteY0" fmla="*/ 0 h 6578439"/>
                <a:gd name="connsiteX1" fmla="*/ 5849513 w 5890490"/>
                <a:gd name="connsiteY1" fmla="*/ 841730 h 6578439"/>
                <a:gd name="connsiteX2" fmla="*/ 5890490 w 5890490"/>
                <a:gd name="connsiteY2" fmla="*/ 879060 h 6578439"/>
                <a:gd name="connsiteX3" fmla="*/ 5890490 w 5890490"/>
                <a:gd name="connsiteY3" fmla="*/ 1816052 h 6578439"/>
                <a:gd name="connsiteX4" fmla="*/ 5856961 w 5890490"/>
                <a:gd name="connsiteY4" fmla="*/ 1771023 h 6578439"/>
                <a:gd name="connsiteX5" fmla="*/ 5655397 w 5890490"/>
                <a:gd name="connsiteY5" fmla="*/ 1548813 h 6578439"/>
                <a:gd name="connsiteX6" fmla="*/ 3517682 w 5890490"/>
                <a:gd name="connsiteY6" fmla="*/ 658717 h 6578439"/>
                <a:gd name="connsiteX7" fmla="*/ 2395696 w 5890490"/>
                <a:gd name="connsiteY7" fmla="*/ 850721 h 6578439"/>
                <a:gd name="connsiteX8" fmla="*/ 1519955 w 5890490"/>
                <a:gd name="connsiteY8" fmla="*/ 1450441 h 6578439"/>
                <a:gd name="connsiteX9" fmla="*/ 1223630 w 5890490"/>
                <a:gd name="connsiteY9" fmla="*/ 1841430 h 6578439"/>
                <a:gd name="connsiteX10" fmla="*/ 1075857 w 5890490"/>
                <a:gd name="connsiteY10" fmla="*/ 2329343 h 6578439"/>
                <a:gd name="connsiteX11" fmla="*/ 731010 w 5890490"/>
                <a:gd name="connsiteY11" fmla="*/ 3483744 h 6578439"/>
                <a:gd name="connsiteX12" fmla="*/ 741000 w 5890490"/>
                <a:gd name="connsiteY12" fmla="*/ 4479719 h 6578439"/>
                <a:gd name="connsiteX13" fmla="*/ 1315615 w 5890490"/>
                <a:gd name="connsiteY13" fmla="*/ 5443827 h 6578439"/>
                <a:gd name="connsiteX14" fmla="*/ 2277503 w 5890490"/>
                <a:gd name="connsiteY14" fmla="*/ 6259386 h 6578439"/>
                <a:gd name="connsiteX15" fmla="*/ 3439448 w 5890490"/>
                <a:gd name="connsiteY15" fmla="*/ 6551739 h 6578439"/>
                <a:gd name="connsiteX16" fmla="*/ 4408732 w 5890490"/>
                <a:gd name="connsiteY16" fmla="*/ 6255172 h 6578439"/>
                <a:gd name="connsiteX17" fmla="*/ 5343243 w 5890490"/>
                <a:gd name="connsiteY17" fmla="*/ 5442509 h 6578439"/>
                <a:gd name="connsiteX18" fmla="*/ 5745566 w 5890490"/>
                <a:gd name="connsiteY18" fmla="*/ 5056656 h 6578439"/>
                <a:gd name="connsiteX19" fmla="*/ 5890490 w 5890490"/>
                <a:gd name="connsiteY19" fmla="*/ 4920880 h 6578439"/>
                <a:gd name="connsiteX20" fmla="*/ 5890490 w 5890490"/>
                <a:gd name="connsiteY20" fmla="*/ 5821966 h 6578439"/>
                <a:gd name="connsiteX21" fmla="*/ 5802002 w 5890490"/>
                <a:gd name="connsiteY21" fmla="*/ 5907904 h 6578439"/>
                <a:gd name="connsiteX22" fmla="*/ 5294358 w 5890490"/>
                <a:gd name="connsiteY22" fmla="*/ 6397505 h 6578439"/>
                <a:gd name="connsiteX23" fmla="*/ 5077178 w 5890490"/>
                <a:gd name="connsiteY23" fmla="*/ 6578439 h 6578439"/>
                <a:gd name="connsiteX24" fmla="*/ 1567290 w 5890490"/>
                <a:gd name="connsiteY24" fmla="*/ 6578439 h 6578439"/>
                <a:gd name="connsiteX25" fmla="*/ 1508588 w 5890490"/>
                <a:gd name="connsiteY25" fmla="*/ 6535186 h 6578439"/>
                <a:gd name="connsiteX26" fmla="*/ 826498 w 5890490"/>
                <a:gd name="connsiteY26" fmla="*/ 5876034 h 6578439"/>
                <a:gd name="connsiteX27" fmla="*/ 122403 w 5890490"/>
                <a:gd name="connsiteY27" fmla="*/ 3255655 h 6578439"/>
                <a:gd name="connsiteX28" fmla="*/ 1061197 w 5890490"/>
                <a:gd name="connsiteY28" fmla="*/ 984650 h 6578439"/>
                <a:gd name="connsiteX29" fmla="*/ 3517682 w 5890490"/>
                <a:gd name="connsiteY29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890490" h="6578439">
                  <a:moveTo>
                    <a:pt x="3517682" y="0"/>
                  </a:moveTo>
                  <a:cubicBezTo>
                    <a:pt x="4402016" y="0"/>
                    <a:pt x="5213741" y="315483"/>
                    <a:pt x="5849513" y="841730"/>
                  </a:cubicBezTo>
                  <a:lnTo>
                    <a:pt x="5890490" y="879060"/>
                  </a:lnTo>
                  <a:lnTo>
                    <a:pt x="5890490" y="1816052"/>
                  </a:lnTo>
                  <a:lnTo>
                    <a:pt x="5856961" y="1771023"/>
                  </a:lnTo>
                  <a:cubicBezTo>
                    <a:pt x="5793650" y="1694076"/>
                    <a:pt x="5726429" y="1619959"/>
                    <a:pt x="5655397" y="1548813"/>
                  </a:cubicBezTo>
                  <a:cubicBezTo>
                    <a:pt x="5082208" y="974906"/>
                    <a:pt x="4322973" y="658717"/>
                    <a:pt x="3517682" y="658717"/>
                  </a:cubicBezTo>
                  <a:cubicBezTo>
                    <a:pt x="3085520" y="658717"/>
                    <a:pt x="2718488" y="721533"/>
                    <a:pt x="2395696" y="850721"/>
                  </a:cubicBezTo>
                  <a:cubicBezTo>
                    <a:pt x="2079132" y="977407"/>
                    <a:pt x="1792668" y="1173626"/>
                    <a:pt x="1519955" y="1450441"/>
                  </a:cubicBezTo>
                  <a:cubicBezTo>
                    <a:pt x="1330275" y="1642840"/>
                    <a:pt x="1263719" y="1756094"/>
                    <a:pt x="1223630" y="1841430"/>
                  </a:cubicBezTo>
                  <a:cubicBezTo>
                    <a:pt x="1166545" y="1962981"/>
                    <a:pt x="1128532" y="2116663"/>
                    <a:pt x="1075857" y="2329343"/>
                  </a:cubicBezTo>
                  <a:cubicBezTo>
                    <a:pt x="1008652" y="2601153"/>
                    <a:pt x="916537" y="2973574"/>
                    <a:pt x="731010" y="3483744"/>
                  </a:cubicBezTo>
                  <a:cubicBezTo>
                    <a:pt x="617488" y="3795981"/>
                    <a:pt x="620731" y="4121653"/>
                    <a:pt x="741000" y="4479719"/>
                  </a:cubicBezTo>
                  <a:cubicBezTo>
                    <a:pt x="847257" y="4796172"/>
                    <a:pt x="1045888" y="5129481"/>
                    <a:pt x="1315615" y="5443827"/>
                  </a:cubicBezTo>
                  <a:cubicBezTo>
                    <a:pt x="1630753" y="5810980"/>
                    <a:pt x="1945371" y="6077784"/>
                    <a:pt x="2277503" y="6259386"/>
                  </a:cubicBezTo>
                  <a:cubicBezTo>
                    <a:pt x="2637530" y="6456133"/>
                    <a:pt x="3017536" y="6551739"/>
                    <a:pt x="3439448" y="6551739"/>
                  </a:cubicBezTo>
                  <a:cubicBezTo>
                    <a:pt x="3781571" y="6551739"/>
                    <a:pt x="4089573" y="6457449"/>
                    <a:pt x="4408732" y="6255172"/>
                  </a:cubicBezTo>
                  <a:cubicBezTo>
                    <a:pt x="4738010" y="6046310"/>
                    <a:pt x="5050941" y="5739207"/>
                    <a:pt x="5343243" y="5442509"/>
                  </a:cubicBezTo>
                  <a:cubicBezTo>
                    <a:pt x="5479860" y="5303970"/>
                    <a:pt x="5614918" y="5178206"/>
                    <a:pt x="5745566" y="5056656"/>
                  </a:cubicBezTo>
                  <a:lnTo>
                    <a:pt x="5890490" y="4920880"/>
                  </a:lnTo>
                  <a:lnTo>
                    <a:pt x="5890490" y="5821966"/>
                  </a:lnTo>
                  <a:lnTo>
                    <a:pt x="5802002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58B604F-996E-4349-B131-E04ED285D8D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5" y="52996"/>
              <a:ext cx="6093361" cy="6805003"/>
            </a:xfrm>
            <a:custGeom>
              <a:avLst/>
              <a:gdLst>
                <a:gd name="connsiteX0" fmla="*/ 3391253 w 5890489"/>
                <a:gd name="connsiteY0" fmla="*/ 0 h 6578438"/>
                <a:gd name="connsiteX1" fmla="*/ 3434974 w 5890489"/>
                <a:gd name="connsiteY1" fmla="*/ 646 h 6578438"/>
                <a:gd name="connsiteX2" fmla="*/ 3522419 w 5890489"/>
                <a:gd name="connsiteY2" fmla="*/ 2712 h 6578438"/>
                <a:gd name="connsiteX3" fmla="*/ 3610261 w 5890489"/>
                <a:gd name="connsiteY3" fmla="*/ 6458 h 6578438"/>
                <a:gd name="connsiteX4" fmla="*/ 3786872 w 5890489"/>
                <a:gd name="connsiteY4" fmla="*/ 20667 h 6578438"/>
                <a:gd name="connsiteX5" fmla="*/ 3962291 w 5890489"/>
                <a:gd name="connsiteY5" fmla="*/ 43530 h 6578438"/>
                <a:gd name="connsiteX6" fmla="*/ 4135855 w 5890489"/>
                <a:gd name="connsiteY6" fmla="*/ 75176 h 6578438"/>
                <a:gd name="connsiteX7" fmla="*/ 4307299 w 5890489"/>
                <a:gd name="connsiteY7" fmla="*/ 114315 h 6578438"/>
                <a:gd name="connsiteX8" fmla="*/ 4476358 w 5890489"/>
                <a:gd name="connsiteY8" fmla="*/ 160816 h 6578438"/>
                <a:gd name="connsiteX9" fmla="*/ 4559829 w 5890489"/>
                <a:gd name="connsiteY9" fmla="*/ 186779 h 6578438"/>
                <a:gd name="connsiteX10" fmla="*/ 4642901 w 5890489"/>
                <a:gd name="connsiteY10" fmla="*/ 213648 h 6578438"/>
                <a:gd name="connsiteX11" fmla="*/ 5280847 w 5890489"/>
                <a:gd name="connsiteY11" fmla="*/ 485936 h 6578438"/>
                <a:gd name="connsiteX12" fmla="*/ 5865400 w 5890489"/>
                <a:gd name="connsiteY12" fmla="*/ 851099 h 6578438"/>
                <a:gd name="connsiteX13" fmla="*/ 5890489 w 5890489"/>
                <a:gd name="connsiteY13" fmla="*/ 870950 h 6578438"/>
                <a:gd name="connsiteX14" fmla="*/ 5890489 w 5890489"/>
                <a:gd name="connsiteY14" fmla="*/ 1321814 h 6578438"/>
                <a:gd name="connsiteX15" fmla="*/ 5887395 w 5890489"/>
                <a:gd name="connsiteY15" fmla="*/ 1318952 h 6578438"/>
                <a:gd name="connsiteX16" fmla="*/ 5830291 w 5890489"/>
                <a:gd name="connsiteY16" fmla="*/ 1265992 h 6578438"/>
                <a:gd name="connsiteX17" fmla="*/ 5815981 w 5890489"/>
                <a:gd name="connsiteY17" fmla="*/ 1252687 h 6578438"/>
                <a:gd name="connsiteX18" fmla="*/ 5801142 w 5890489"/>
                <a:gd name="connsiteY18" fmla="*/ 1240158 h 6578438"/>
                <a:gd name="connsiteX19" fmla="*/ 5771464 w 5890489"/>
                <a:gd name="connsiteY19" fmla="*/ 1214969 h 6578438"/>
                <a:gd name="connsiteX20" fmla="*/ 5651030 w 5890489"/>
                <a:gd name="connsiteY20" fmla="*/ 1115767 h 6578438"/>
                <a:gd name="connsiteX21" fmla="*/ 5123183 w 5890489"/>
                <a:gd name="connsiteY21" fmla="*/ 780443 h 6578438"/>
                <a:gd name="connsiteX22" fmla="*/ 4533860 w 5890489"/>
                <a:gd name="connsiteY22" fmla="*/ 567701 h 6578438"/>
                <a:gd name="connsiteX23" fmla="*/ 4457281 w 5890489"/>
                <a:gd name="connsiteY23" fmla="*/ 550780 h 6578438"/>
                <a:gd name="connsiteX24" fmla="*/ 4380568 w 5890489"/>
                <a:gd name="connsiteY24" fmla="*/ 535279 h 6578438"/>
                <a:gd name="connsiteX25" fmla="*/ 4303325 w 5890489"/>
                <a:gd name="connsiteY25" fmla="*/ 522879 h 6578438"/>
                <a:gd name="connsiteX26" fmla="*/ 4264769 w 5890489"/>
                <a:gd name="connsiteY26" fmla="*/ 516679 h 6578438"/>
                <a:gd name="connsiteX27" fmla="*/ 4226082 w 5890489"/>
                <a:gd name="connsiteY27" fmla="*/ 511253 h 6578438"/>
                <a:gd name="connsiteX28" fmla="*/ 4070934 w 5890489"/>
                <a:gd name="connsiteY28" fmla="*/ 494848 h 6578438"/>
                <a:gd name="connsiteX29" fmla="*/ 3915521 w 5890489"/>
                <a:gd name="connsiteY29" fmla="*/ 486065 h 6578438"/>
                <a:gd name="connsiteX30" fmla="*/ 3760241 w 5890489"/>
                <a:gd name="connsiteY30" fmla="*/ 484257 h 6578438"/>
                <a:gd name="connsiteX31" fmla="*/ 3682734 w 5890489"/>
                <a:gd name="connsiteY31" fmla="*/ 486581 h 6578438"/>
                <a:gd name="connsiteX32" fmla="*/ 3605491 w 5890489"/>
                <a:gd name="connsiteY32" fmla="*/ 488907 h 6578438"/>
                <a:gd name="connsiteX33" fmla="*/ 3527454 w 5890489"/>
                <a:gd name="connsiteY33" fmla="*/ 493169 h 6578438"/>
                <a:gd name="connsiteX34" fmla="*/ 3449151 w 5890489"/>
                <a:gd name="connsiteY34" fmla="*/ 498336 h 6578438"/>
                <a:gd name="connsiteX35" fmla="*/ 3410067 w 5890489"/>
                <a:gd name="connsiteY35" fmla="*/ 500532 h 6578438"/>
                <a:gd name="connsiteX36" fmla="*/ 3371246 w 5890489"/>
                <a:gd name="connsiteY36" fmla="*/ 504279 h 6578438"/>
                <a:gd name="connsiteX37" fmla="*/ 3293739 w 5890489"/>
                <a:gd name="connsiteY37" fmla="*/ 511512 h 6578438"/>
                <a:gd name="connsiteX38" fmla="*/ 2689445 w 5890489"/>
                <a:gd name="connsiteY38" fmla="*/ 610198 h 6578438"/>
                <a:gd name="connsiteX39" fmla="*/ 2117875 w 5890489"/>
                <a:gd name="connsiteY39" fmla="*/ 800335 h 6578438"/>
                <a:gd name="connsiteX40" fmla="*/ 1981276 w 5890489"/>
                <a:gd name="connsiteY40" fmla="*/ 865566 h 6578438"/>
                <a:gd name="connsiteX41" fmla="*/ 1847991 w 5890489"/>
                <a:gd name="connsiteY41" fmla="*/ 938676 h 6578438"/>
                <a:gd name="connsiteX42" fmla="*/ 1783069 w 5890489"/>
                <a:gd name="connsiteY42" fmla="*/ 978718 h 6578438"/>
                <a:gd name="connsiteX43" fmla="*/ 1750609 w 5890489"/>
                <a:gd name="connsiteY43" fmla="*/ 998869 h 6578438"/>
                <a:gd name="connsiteX44" fmla="*/ 1734312 w 5890489"/>
                <a:gd name="connsiteY44" fmla="*/ 1008945 h 6578438"/>
                <a:gd name="connsiteX45" fmla="*/ 1718547 w 5890489"/>
                <a:gd name="connsiteY45" fmla="*/ 1019924 h 6578438"/>
                <a:gd name="connsiteX46" fmla="*/ 1655481 w 5890489"/>
                <a:gd name="connsiteY46" fmla="*/ 1063582 h 6578438"/>
                <a:gd name="connsiteX47" fmla="*/ 1593077 w 5890489"/>
                <a:gd name="connsiteY47" fmla="*/ 1108664 h 6578438"/>
                <a:gd name="connsiteX48" fmla="*/ 1532263 w 5890489"/>
                <a:gd name="connsiteY48" fmla="*/ 1156197 h 6578438"/>
                <a:gd name="connsiteX49" fmla="*/ 1472509 w 5890489"/>
                <a:gd name="connsiteY49" fmla="*/ 1205152 h 6578438"/>
                <a:gd name="connsiteX50" fmla="*/ 1414212 w 5890489"/>
                <a:gd name="connsiteY50" fmla="*/ 1256175 h 6578438"/>
                <a:gd name="connsiteX51" fmla="*/ 1357242 w 5890489"/>
                <a:gd name="connsiteY51" fmla="*/ 1308359 h 6578438"/>
                <a:gd name="connsiteX52" fmla="*/ 1153072 w 5890489"/>
                <a:gd name="connsiteY52" fmla="*/ 1529498 h 6578438"/>
                <a:gd name="connsiteX53" fmla="*/ 1002694 w 5890489"/>
                <a:gd name="connsiteY53" fmla="*/ 1770658 h 6578438"/>
                <a:gd name="connsiteX54" fmla="*/ 974076 w 5890489"/>
                <a:gd name="connsiteY54" fmla="*/ 1835371 h 6578438"/>
                <a:gd name="connsiteX55" fmla="*/ 949564 w 5890489"/>
                <a:gd name="connsiteY55" fmla="*/ 1903573 h 6578438"/>
                <a:gd name="connsiteX56" fmla="*/ 927173 w 5890489"/>
                <a:gd name="connsiteY56" fmla="*/ 1974229 h 6578438"/>
                <a:gd name="connsiteX57" fmla="*/ 906107 w 5890489"/>
                <a:gd name="connsiteY57" fmla="*/ 2046952 h 6578438"/>
                <a:gd name="connsiteX58" fmla="*/ 751092 w 5890489"/>
                <a:gd name="connsiteY58" fmla="*/ 2676266 h 6578438"/>
                <a:gd name="connsiteX59" fmla="*/ 547189 w 5890489"/>
                <a:gd name="connsiteY59" fmla="*/ 3308422 h 6578438"/>
                <a:gd name="connsiteX60" fmla="*/ 441195 w 5890489"/>
                <a:gd name="connsiteY60" fmla="*/ 3866306 h 6578438"/>
                <a:gd name="connsiteX61" fmla="*/ 527182 w 5890489"/>
                <a:gd name="connsiteY61" fmla="*/ 4439174 h 6578438"/>
                <a:gd name="connsiteX62" fmla="*/ 775073 w 5890489"/>
                <a:gd name="connsiteY62" fmla="*/ 4987240 h 6578438"/>
                <a:gd name="connsiteX63" fmla="*/ 943206 w 5890489"/>
                <a:gd name="connsiteY63" fmla="*/ 5244933 h 6578438"/>
                <a:gd name="connsiteX64" fmla="*/ 1133728 w 5890489"/>
                <a:gd name="connsiteY64" fmla="*/ 5490356 h 6578438"/>
                <a:gd name="connsiteX65" fmla="*/ 1359626 w 5890489"/>
                <a:gd name="connsiteY65" fmla="*/ 5709815 h 6578438"/>
                <a:gd name="connsiteX66" fmla="*/ 1481254 w 5890489"/>
                <a:gd name="connsiteY66" fmla="*/ 5809146 h 6578438"/>
                <a:gd name="connsiteX67" fmla="*/ 1543260 w 5890489"/>
                <a:gd name="connsiteY67" fmla="*/ 5856940 h 6578438"/>
                <a:gd name="connsiteX68" fmla="*/ 1607518 w 5890489"/>
                <a:gd name="connsiteY68" fmla="*/ 5901374 h 6578438"/>
                <a:gd name="connsiteX69" fmla="*/ 2145566 w 5890489"/>
                <a:gd name="connsiteY69" fmla="*/ 6193814 h 6578438"/>
                <a:gd name="connsiteX70" fmla="*/ 2214991 w 5890489"/>
                <a:gd name="connsiteY70" fmla="*/ 6221844 h 6578438"/>
                <a:gd name="connsiteX71" fmla="*/ 2249307 w 5890489"/>
                <a:gd name="connsiteY71" fmla="*/ 6236182 h 6578438"/>
                <a:gd name="connsiteX72" fmla="*/ 2284285 w 5890489"/>
                <a:gd name="connsiteY72" fmla="*/ 6248711 h 6578438"/>
                <a:gd name="connsiteX73" fmla="*/ 2354241 w 5890489"/>
                <a:gd name="connsiteY73" fmla="*/ 6273124 h 6578438"/>
                <a:gd name="connsiteX74" fmla="*/ 2371597 w 5890489"/>
                <a:gd name="connsiteY74" fmla="*/ 6279324 h 6578438"/>
                <a:gd name="connsiteX75" fmla="*/ 2387894 w 5890489"/>
                <a:gd name="connsiteY75" fmla="*/ 6287719 h 6578438"/>
                <a:gd name="connsiteX76" fmla="*/ 2421414 w 5890489"/>
                <a:gd name="connsiteY76" fmla="*/ 6302186 h 6578438"/>
                <a:gd name="connsiteX77" fmla="*/ 2489117 w 5890489"/>
                <a:gd name="connsiteY77" fmla="*/ 6329441 h 6578438"/>
                <a:gd name="connsiteX78" fmla="*/ 2522902 w 5890489"/>
                <a:gd name="connsiteY78" fmla="*/ 6343134 h 6578438"/>
                <a:gd name="connsiteX79" fmla="*/ 2556953 w 5890489"/>
                <a:gd name="connsiteY79" fmla="*/ 6356051 h 6578438"/>
                <a:gd name="connsiteX80" fmla="*/ 2695009 w 5890489"/>
                <a:gd name="connsiteY80" fmla="*/ 6401905 h 6578438"/>
                <a:gd name="connsiteX81" fmla="*/ 3268035 w 5890489"/>
                <a:gd name="connsiteY81" fmla="*/ 6501238 h 6578438"/>
                <a:gd name="connsiteX82" fmla="*/ 3341038 w 5890489"/>
                <a:gd name="connsiteY82" fmla="*/ 6506145 h 6578438"/>
                <a:gd name="connsiteX83" fmla="*/ 3414703 w 5890489"/>
                <a:gd name="connsiteY83" fmla="*/ 6507050 h 6578438"/>
                <a:gd name="connsiteX84" fmla="*/ 3488237 w 5890489"/>
                <a:gd name="connsiteY84" fmla="*/ 6508212 h 6578438"/>
                <a:gd name="connsiteX85" fmla="*/ 3524142 w 5890489"/>
                <a:gd name="connsiteY85" fmla="*/ 6507955 h 6578438"/>
                <a:gd name="connsiteX86" fmla="*/ 3559252 w 5890489"/>
                <a:gd name="connsiteY86" fmla="*/ 6506921 h 6578438"/>
                <a:gd name="connsiteX87" fmla="*/ 3629207 w 5890489"/>
                <a:gd name="connsiteY87" fmla="*/ 6503045 h 6578438"/>
                <a:gd name="connsiteX88" fmla="*/ 3698633 w 5890489"/>
                <a:gd name="connsiteY88" fmla="*/ 6496845 h 6578438"/>
                <a:gd name="connsiteX89" fmla="*/ 3733213 w 5890489"/>
                <a:gd name="connsiteY89" fmla="*/ 6493357 h 6578438"/>
                <a:gd name="connsiteX90" fmla="*/ 3767529 w 5890489"/>
                <a:gd name="connsiteY90" fmla="*/ 6488707 h 6578438"/>
                <a:gd name="connsiteX91" fmla="*/ 3801845 w 5890489"/>
                <a:gd name="connsiteY91" fmla="*/ 6484057 h 6578438"/>
                <a:gd name="connsiteX92" fmla="*/ 3835895 w 5890489"/>
                <a:gd name="connsiteY92" fmla="*/ 6478116 h 6578438"/>
                <a:gd name="connsiteX93" fmla="*/ 4364801 w 5890489"/>
                <a:gd name="connsiteY93" fmla="*/ 6308517 h 6578438"/>
                <a:gd name="connsiteX94" fmla="*/ 4861379 w 5890489"/>
                <a:gd name="connsiteY94" fmla="*/ 6000576 h 6578438"/>
                <a:gd name="connsiteX95" fmla="*/ 5341263 w 5890489"/>
                <a:gd name="connsiteY95" fmla="*/ 5605834 h 6578438"/>
                <a:gd name="connsiteX96" fmla="*/ 5587301 w 5890489"/>
                <a:gd name="connsiteY96" fmla="*/ 5390379 h 6578438"/>
                <a:gd name="connsiteX97" fmla="*/ 5849105 w 5890489"/>
                <a:gd name="connsiteY97" fmla="*/ 5176344 h 6578438"/>
                <a:gd name="connsiteX98" fmla="*/ 5890489 w 5890489"/>
                <a:gd name="connsiteY98" fmla="*/ 5145260 h 6578438"/>
                <a:gd name="connsiteX99" fmla="*/ 5890489 w 5890489"/>
                <a:gd name="connsiteY99" fmla="*/ 5995323 h 6578438"/>
                <a:gd name="connsiteX100" fmla="*/ 5811477 w 5890489"/>
                <a:gd name="connsiteY100" fmla="*/ 6077819 h 6578438"/>
                <a:gd name="connsiteX101" fmla="*/ 5301384 w 5890489"/>
                <a:gd name="connsiteY101" fmla="*/ 6542958 h 6578438"/>
                <a:gd name="connsiteX102" fmla="*/ 5252008 w 5890489"/>
                <a:gd name="connsiteY102" fmla="*/ 6578438 h 6578438"/>
                <a:gd name="connsiteX103" fmla="*/ 1653730 w 5890489"/>
                <a:gd name="connsiteY103" fmla="*/ 6578438 h 6578438"/>
                <a:gd name="connsiteX104" fmla="*/ 1549768 w 5890489"/>
                <a:gd name="connsiteY104" fmla="*/ 6488821 h 6578438"/>
                <a:gd name="connsiteX105" fmla="*/ 1298282 w 5890489"/>
                <a:gd name="connsiteY105" fmla="*/ 6243932 h 6578438"/>
                <a:gd name="connsiteX106" fmla="*/ 1237999 w 5890489"/>
                <a:gd name="connsiteY106" fmla="*/ 6181671 h 6578438"/>
                <a:gd name="connsiteX107" fmla="*/ 1179967 w 5890489"/>
                <a:gd name="connsiteY107" fmla="*/ 6117862 h 6578438"/>
                <a:gd name="connsiteX108" fmla="*/ 1121936 w 5890489"/>
                <a:gd name="connsiteY108" fmla="*/ 6054569 h 6578438"/>
                <a:gd name="connsiteX109" fmla="*/ 1065628 w 5890489"/>
                <a:gd name="connsiteY109" fmla="*/ 5990243 h 6578438"/>
                <a:gd name="connsiteX110" fmla="*/ 954335 w 5890489"/>
                <a:gd name="connsiteY110" fmla="*/ 5861460 h 6578438"/>
                <a:gd name="connsiteX111" fmla="*/ 898953 w 5890489"/>
                <a:gd name="connsiteY111" fmla="*/ 5797393 h 6578438"/>
                <a:gd name="connsiteX112" fmla="*/ 842908 w 5890489"/>
                <a:gd name="connsiteY112" fmla="*/ 5733582 h 6578438"/>
                <a:gd name="connsiteX113" fmla="*/ 622442 w 5890489"/>
                <a:gd name="connsiteY113" fmla="*/ 5471884 h 6578438"/>
                <a:gd name="connsiteX114" fmla="*/ 425559 w 5890489"/>
                <a:gd name="connsiteY114" fmla="*/ 5190036 h 6578438"/>
                <a:gd name="connsiteX115" fmla="*/ 123877 w 5890489"/>
                <a:gd name="connsiteY115" fmla="*/ 4564210 h 6578438"/>
                <a:gd name="connsiteX116" fmla="*/ 130 w 5890489"/>
                <a:gd name="connsiteY116" fmla="*/ 3865530 h 6578438"/>
                <a:gd name="connsiteX117" fmla="*/ 30602 w 5890489"/>
                <a:gd name="connsiteY117" fmla="*/ 3505793 h 6578438"/>
                <a:gd name="connsiteX118" fmla="*/ 126924 w 5890489"/>
                <a:gd name="connsiteY118" fmla="*/ 3157164 h 6578438"/>
                <a:gd name="connsiteX119" fmla="*/ 334803 w 5890489"/>
                <a:gd name="connsiteY119" fmla="*/ 2560530 h 6578438"/>
                <a:gd name="connsiteX120" fmla="*/ 381176 w 5890489"/>
                <a:gd name="connsiteY120" fmla="*/ 2409144 h 6578438"/>
                <a:gd name="connsiteX121" fmla="*/ 425825 w 5890489"/>
                <a:gd name="connsiteY121" fmla="*/ 2255819 h 6578438"/>
                <a:gd name="connsiteX122" fmla="*/ 470210 w 5890489"/>
                <a:gd name="connsiteY122" fmla="*/ 2099523 h 6578438"/>
                <a:gd name="connsiteX123" fmla="*/ 492998 w 5890489"/>
                <a:gd name="connsiteY123" fmla="*/ 2020213 h 6578438"/>
                <a:gd name="connsiteX124" fmla="*/ 517509 w 5890489"/>
                <a:gd name="connsiteY124" fmla="*/ 1939224 h 6578438"/>
                <a:gd name="connsiteX125" fmla="*/ 544007 w 5890489"/>
                <a:gd name="connsiteY125" fmla="*/ 1857201 h 6578438"/>
                <a:gd name="connsiteX126" fmla="*/ 573288 w 5890489"/>
                <a:gd name="connsiteY126" fmla="*/ 1774274 h 6578438"/>
                <a:gd name="connsiteX127" fmla="*/ 606146 w 5890489"/>
                <a:gd name="connsiteY127" fmla="*/ 1690832 h 6578438"/>
                <a:gd name="connsiteX128" fmla="*/ 644569 w 5890489"/>
                <a:gd name="connsiteY128" fmla="*/ 1607775 h 6578438"/>
                <a:gd name="connsiteX129" fmla="*/ 837874 w 5890489"/>
                <a:gd name="connsiteY129" fmla="*/ 1297638 h 6578438"/>
                <a:gd name="connsiteX130" fmla="*/ 1069602 w 5890489"/>
                <a:gd name="connsiteY130" fmla="*/ 1032194 h 6578438"/>
                <a:gd name="connsiteX131" fmla="*/ 1130548 w 5890489"/>
                <a:gd name="connsiteY131" fmla="*/ 970839 h 6578438"/>
                <a:gd name="connsiteX132" fmla="*/ 1192024 w 5890489"/>
                <a:gd name="connsiteY132" fmla="*/ 910129 h 6578438"/>
                <a:gd name="connsiteX133" fmla="*/ 1255356 w 5890489"/>
                <a:gd name="connsiteY133" fmla="*/ 850841 h 6578438"/>
                <a:gd name="connsiteX134" fmla="*/ 1319614 w 5890489"/>
                <a:gd name="connsiteY134" fmla="*/ 792068 h 6578438"/>
                <a:gd name="connsiteX135" fmla="*/ 1385728 w 5890489"/>
                <a:gd name="connsiteY135" fmla="*/ 734975 h 6578438"/>
                <a:gd name="connsiteX136" fmla="*/ 1452768 w 5890489"/>
                <a:gd name="connsiteY136" fmla="*/ 678528 h 6578438"/>
                <a:gd name="connsiteX137" fmla="*/ 1469594 w 5890489"/>
                <a:gd name="connsiteY137" fmla="*/ 664449 h 6578438"/>
                <a:gd name="connsiteX138" fmla="*/ 1487083 w 5890489"/>
                <a:gd name="connsiteY138" fmla="*/ 651015 h 6578438"/>
                <a:gd name="connsiteX139" fmla="*/ 1522193 w 5890489"/>
                <a:gd name="connsiteY139" fmla="*/ 624277 h 6578438"/>
                <a:gd name="connsiteX140" fmla="*/ 1592415 w 5890489"/>
                <a:gd name="connsiteY140" fmla="*/ 570671 h 6578438"/>
                <a:gd name="connsiteX141" fmla="*/ 1738287 w 5890489"/>
                <a:gd name="connsiteY141" fmla="*/ 469402 h 6578438"/>
                <a:gd name="connsiteX142" fmla="*/ 1890918 w 5890489"/>
                <a:gd name="connsiteY142" fmla="*/ 376530 h 6578438"/>
                <a:gd name="connsiteX143" fmla="*/ 2555363 w 5890489"/>
                <a:gd name="connsiteY143" fmla="*/ 105274 h 6578438"/>
                <a:gd name="connsiteX144" fmla="*/ 3259291 w 5890489"/>
                <a:gd name="connsiteY144" fmla="*/ 3229 h 6578438"/>
                <a:gd name="connsiteX145" fmla="*/ 3347265 w 5890489"/>
                <a:gd name="connsiteY145" fmla="*/ 903 h 657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5890489" h="6578438">
                  <a:moveTo>
                    <a:pt x="3391253" y="0"/>
                  </a:moveTo>
                  <a:lnTo>
                    <a:pt x="3434974" y="646"/>
                  </a:lnTo>
                  <a:lnTo>
                    <a:pt x="3522419" y="2712"/>
                  </a:lnTo>
                  <a:cubicBezTo>
                    <a:pt x="3551567" y="3488"/>
                    <a:pt x="3580451" y="3746"/>
                    <a:pt x="3610261" y="6458"/>
                  </a:cubicBezTo>
                  <a:cubicBezTo>
                    <a:pt x="3669353" y="10850"/>
                    <a:pt x="3728179" y="14337"/>
                    <a:pt x="3786872" y="20667"/>
                  </a:cubicBezTo>
                  <a:lnTo>
                    <a:pt x="3962291" y="43530"/>
                  </a:lnTo>
                  <a:lnTo>
                    <a:pt x="4135855" y="75176"/>
                  </a:lnTo>
                  <a:cubicBezTo>
                    <a:pt x="4193224" y="87836"/>
                    <a:pt x="4250328" y="101398"/>
                    <a:pt x="4307299" y="114315"/>
                  </a:cubicBezTo>
                  <a:cubicBezTo>
                    <a:pt x="4364139" y="128394"/>
                    <a:pt x="4420050" y="145575"/>
                    <a:pt x="4476358" y="160816"/>
                  </a:cubicBezTo>
                  <a:cubicBezTo>
                    <a:pt x="4504580" y="167921"/>
                    <a:pt x="4532138" y="177995"/>
                    <a:pt x="4559829" y="186779"/>
                  </a:cubicBezTo>
                  <a:lnTo>
                    <a:pt x="4642901" y="213648"/>
                  </a:lnTo>
                  <a:cubicBezTo>
                    <a:pt x="4863234" y="288307"/>
                    <a:pt x="5076414" y="379371"/>
                    <a:pt x="5280847" y="485936"/>
                  </a:cubicBezTo>
                  <a:cubicBezTo>
                    <a:pt x="5485018" y="592631"/>
                    <a:pt x="5681768" y="713145"/>
                    <a:pt x="5865400" y="851099"/>
                  </a:cubicBezTo>
                  <a:lnTo>
                    <a:pt x="5890489" y="870950"/>
                  </a:lnTo>
                  <a:lnTo>
                    <a:pt x="5890489" y="1321814"/>
                  </a:lnTo>
                  <a:lnTo>
                    <a:pt x="5887395" y="1318952"/>
                  </a:lnTo>
                  <a:lnTo>
                    <a:pt x="5830291" y="1265992"/>
                  </a:lnTo>
                  <a:lnTo>
                    <a:pt x="5815981" y="1252687"/>
                  </a:lnTo>
                  <a:lnTo>
                    <a:pt x="5801142" y="1240158"/>
                  </a:lnTo>
                  <a:lnTo>
                    <a:pt x="5771464" y="1214969"/>
                  </a:lnTo>
                  <a:cubicBezTo>
                    <a:pt x="5731849" y="1181385"/>
                    <a:pt x="5692897" y="1146896"/>
                    <a:pt x="5651030" y="1115767"/>
                  </a:cubicBezTo>
                  <a:cubicBezTo>
                    <a:pt x="5487534" y="986985"/>
                    <a:pt x="5311321" y="872542"/>
                    <a:pt x="5123183" y="780443"/>
                  </a:cubicBezTo>
                  <a:cubicBezTo>
                    <a:pt x="4935309" y="688087"/>
                    <a:pt x="4737102" y="616398"/>
                    <a:pt x="4533860" y="567701"/>
                  </a:cubicBezTo>
                  <a:lnTo>
                    <a:pt x="4457281" y="550780"/>
                  </a:lnTo>
                  <a:cubicBezTo>
                    <a:pt x="4431709" y="545484"/>
                    <a:pt x="4406536" y="538896"/>
                    <a:pt x="4380568" y="535279"/>
                  </a:cubicBezTo>
                  <a:lnTo>
                    <a:pt x="4303325" y="522879"/>
                  </a:lnTo>
                  <a:lnTo>
                    <a:pt x="4264769" y="516679"/>
                  </a:lnTo>
                  <a:cubicBezTo>
                    <a:pt x="4251918" y="514612"/>
                    <a:pt x="4239067" y="512415"/>
                    <a:pt x="4226082" y="511253"/>
                  </a:cubicBezTo>
                  <a:cubicBezTo>
                    <a:pt x="4174145" y="505829"/>
                    <a:pt x="4122606" y="499498"/>
                    <a:pt x="4070934" y="494848"/>
                  </a:cubicBezTo>
                  <a:lnTo>
                    <a:pt x="3915521" y="486065"/>
                  </a:lnTo>
                  <a:lnTo>
                    <a:pt x="3760241" y="484257"/>
                  </a:lnTo>
                  <a:cubicBezTo>
                    <a:pt x="3734405" y="483869"/>
                    <a:pt x="3708571" y="485936"/>
                    <a:pt x="3682734" y="486581"/>
                  </a:cubicBezTo>
                  <a:lnTo>
                    <a:pt x="3605491" y="488907"/>
                  </a:lnTo>
                  <a:cubicBezTo>
                    <a:pt x="3579921" y="489165"/>
                    <a:pt x="3553555" y="491490"/>
                    <a:pt x="3527454" y="493169"/>
                  </a:cubicBezTo>
                  <a:lnTo>
                    <a:pt x="3449151" y="498336"/>
                  </a:lnTo>
                  <a:lnTo>
                    <a:pt x="3410067" y="500532"/>
                  </a:lnTo>
                  <a:lnTo>
                    <a:pt x="3371246" y="504279"/>
                  </a:lnTo>
                  <a:cubicBezTo>
                    <a:pt x="3345410" y="506862"/>
                    <a:pt x="3319575" y="509315"/>
                    <a:pt x="3293739" y="511512"/>
                  </a:cubicBezTo>
                  <a:cubicBezTo>
                    <a:pt x="3087450" y="531662"/>
                    <a:pt x="2885531" y="563180"/>
                    <a:pt x="2689445" y="610198"/>
                  </a:cubicBezTo>
                  <a:cubicBezTo>
                    <a:pt x="2493357" y="657344"/>
                    <a:pt x="2302303" y="719088"/>
                    <a:pt x="2117875" y="800335"/>
                  </a:cubicBezTo>
                  <a:cubicBezTo>
                    <a:pt x="2072298" y="821648"/>
                    <a:pt x="2026854" y="843606"/>
                    <a:pt x="1981276" y="865566"/>
                  </a:cubicBezTo>
                  <a:cubicBezTo>
                    <a:pt x="1937025" y="889978"/>
                    <a:pt x="1891978" y="913229"/>
                    <a:pt x="1847991" y="938676"/>
                  </a:cubicBezTo>
                  <a:lnTo>
                    <a:pt x="1783069" y="978718"/>
                  </a:lnTo>
                  <a:lnTo>
                    <a:pt x="1750609" y="998869"/>
                  </a:lnTo>
                  <a:lnTo>
                    <a:pt x="1734312" y="1008945"/>
                  </a:lnTo>
                  <a:lnTo>
                    <a:pt x="1718547" y="1019924"/>
                  </a:lnTo>
                  <a:lnTo>
                    <a:pt x="1655481" y="1063582"/>
                  </a:lnTo>
                  <a:cubicBezTo>
                    <a:pt x="1634414" y="1078178"/>
                    <a:pt x="1612950" y="1092259"/>
                    <a:pt x="1593077" y="1108664"/>
                  </a:cubicBezTo>
                  <a:lnTo>
                    <a:pt x="1532263" y="1156197"/>
                  </a:lnTo>
                  <a:cubicBezTo>
                    <a:pt x="1511992" y="1172085"/>
                    <a:pt x="1491587" y="1187844"/>
                    <a:pt x="1472509" y="1205152"/>
                  </a:cubicBezTo>
                  <a:lnTo>
                    <a:pt x="1414212" y="1256175"/>
                  </a:lnTo>
                  <a:cubicBezTo>
                    <a:pt x="1395001" y="1273354"/>
                    <a:pt x="1375127" y="1290147"/>
                    <a:pt x="1357242" y="1308359"/>
                  </a:cubicBezTo>
                  <a:cubicBezTo>
                    <a:pt x="1283178" y="1379532"/>
                    <a:pt x="1212163" y="1452513"/>
                    <a:pt x="1153072" y="1529498"/>
                  </a:cubicBezTo>
                  <a:cubicBezTo>
                    <a:pt x="1090933" y="1605578"/>
                    <a:pt x="1043501" y="1685794"/>
                    <a:pt x="1002694" y="1770658"/>
                  </a:cubicBezTo>
                  <a:lnTo>
                    <a:pt x="974076" y="1835371"/>
                  </a:lnTo>
                  <a:lnTo>
                    <a:pt x="949564" y="1903573"/>
                  </a:lnTo>
                  <a:cubicBezTo>
                    <a:pt x="940820" y="1925661"/>
                    <a:pt x="934593" y="1950719"/>
                    <a:pt x="927173" y="1974229"/>
                  </a:cubicBezTo>
                  <a:cubicBezTo>
                    <a:pt x="920019" y="1998254"/>
                    <a:pt x="912468" y="2021504"/>
                    <a:pt x="906107" y="2046952"/>
                  </a:cubicBezTo>
                  <a:cubicBezTo>
                    <a:pt x="853906" y="2245614"/>
                    <a:pt x="809918" y="2463136"/>
                    <a:pt x="751092" y="2676266"/>
                  </a:cubicBezTo>
                  <a:cubicBezTo>
                    <a:pt x="693458" y="2889912"/>
                    <a:pt x="624166" y="3100976"/>
                    <a:pt x="547189" y="3308422"/>
                  </a:cubicBezTo>
                  <a:cubicBezTo>
                    <a:pt x="479617" y="3487580"/>
                    <a:pt x="444109" y="3675523"/>
                    <a:pt x="441195" y="3866306"/>
                  </a:cubicBezTo>
                  <a:cubicBezTo>
                    <a:pt x="438014" y="4057089"/>
                    <a:pt x="469282" y="4250456"/>
                    <a:pt x="527182" y="4439174"/>
                  </a:cubicBezTo>
                  <a:cubicBezTo>
                    <a:pt x="584815" y="4628278"/>
                    <a:pt x="671067" y="4811828"/>
                    <a:pt x="775073" y="4987240"/>
                  </a:cubicBezTo>
                  <a:cubicBezTo>
                    <a:pt x="827009" y="5075075"/>
                    <a:pt x="884246" y="5160327"/>
                    <a:pt x="943206" y="5244933"/>
                  </a:cubicBezTo>
                  <a:cubicBezTo>
                    <a:pt x="1002296" y="5329411"/>
                    <a:pt x="1064964" y="5412337"/>
                    <a:pt x="1133728" y="5490356"/>
                  </a:cubicBezTo>
                  <a:cubicBezTo>
                    <a:pt x="1203949" y="5567728"/>
                    <a:pt x="1279337" y="5642259"/>
                    <a:pt x="1359626" y="5709815"/>
                  </a:cubicBezTo>
                  <a:cubicBezTo>
                    <a:pt x="1398711" y="5744949"/>
                    <a:pt x="1439916" y="5777241"/>
                    <a:pt x="1481254" y="5809146"/>
                  </a:cubicBezTo>
                  <a:cubicBezTo>
                    <a:pt x="1501922" y="5825163"/>
                    <a:pt x="1522325" y="5841309"/>
                    <a:pt x="1543260" y="5856940"/>
                  </a:cubicBezTo>
                  <a:cubicBezTo>
                    <a:pt x="1564591" y="5871923"/>
                    <a:pt x="1585921" y="5886777"/>
                    <a:pt x="1607518" y="5901374"/>
                  </a:cubicBezTo>
                  <a:cubicBezTo>
                    <a:pt x="1778565" y="6019693"/>
                    <a:pt x="1961271" y="6115924"/>
                    <a:pt x="2145566" y="6193814"/>
                  </a:cubicBezTo>
                  <a:lnTo>
                    <a:pt x="2214991" y="6221844"/>
                  </a:lnTo>
                  <a:lnTo>
                    <a:pt x="2249307" y="6236182"/>
                  </a:lnTo>
                  <a:cubicBezTo>
                    <a:pt x="2260702" y="6241089"/>
                    <a:pt x="2272625" y="6244577"/>
                    <a:pt x="2284285" y="6248711"/>
                  </a:cubicBezTo>
                  <a:lnTo>
                    <a:pt x="2354241" y="6273124"/>
                  </a:lnTo>
                  <a:cubicBezTo>
                    <a:pt x="2360070" y="6275190"/>
                    <a:pt x="2365899" y="6277128"/>
                    <a:pt x="2371597" y="6279324"/>
                  </a:cubicBezTo>
                  <a:cubicBezTo>
                    <a:pt x="2377161" y="6281778"/>
                    <a:pt x="2382329" y="6285007"/>
                    <a:pt x="2387894" y="6287719"/>
                  </a:cubicBezTo>
                  <a:cubicBezTo>
                    <a:pt x="2398757" y="6293274"/>
                    <a:pt x="2410153" y="6297666"/>
                    <a:pt x="2421414" y="6302186"/>
                  </a:cubicBezTo>
                  <a:lnTo>
                    <a:pt x="2489117" y="6329441"/>
                  </a:lnTo>
                  <a:lnTo>
                    <a:pt x="2522902" y="6343134"/>
                  </a:lnTo>
                  <a:cubicBezTo>
                    <a:pt x="2534165" y="6347654"/>
                    <a:pt x="2545294" y="6352563"/>
                    <a:pt x="2556953" y="6356051"/>
                  </a:cubicBezTo>
                  <a:lnTo>
                    <a:pt x="2695009" y="6401905"/>
                  </a:lnTo>
                  <a:cubicBezTo>
                    <a:pt x="2880895" y="6457190"/>
                    <a:pt x="3073141" y="6489095"/>
                    <a:pt x="3268035" y="6501238"/>
                  </a:cubicBezTo>
                  <a:cubicBezTo>
                    <a:pt x="3292413" y="6502659"/>
                    <a:pt x="3316527" y="6505629"/>
                    <a:pt x="3341038" y="6506145"/>
                  </a:cubicBezTo>
                  <a:lnTo>
                    <a:pt x="3414703" y="6507050"/>
                  </a:lnTo>
                  <a:lnTo>
                    <a:pt x="3488237" y="6508212"/>
                  </a:lnTo>
                  <a:cubicBezTo>
                    <a:pt x="3500690" y="6508729"/>
                    <a:pt x="3512483" y="6508471"/>
                    <a:pt x="3524142" y="6507955"/>
                  </a:cubicBezTo>
                  <a:lnTo>
                    <a:pt x="3559252" y="6506921"/>
                  </a:lnTo>
                  <a:cubicBezTo>
                    <a:pt x="3582835" y="6506792"/>
                    <a:pt x="3605889" y="6504467"/>
                    <a:pt x="3629207" y="6503045"/>
                  </a:cubicBezTo>
                  <a:cubicBezTo>
                    <a:pt x="3652526" y="6502012"/>
                    <a:pt x="3675579" y="6499171"/>
                    <a:pt x="3698633" y="6496845"/>
                  </a:cubicBezTo>
                  <a:cubicBezTo>
                    <a:pt x="3710160" y="6495683"/>
                    <a:pt x="3721819" y="6494907"/>
                    <a:pt x="3733213" y="6493357"/>
                  </a:cubicBezTo>
                  <a:lnTo>
                    <a:pt x="3767529" y="6488707"/>
                  </a:lnTo>
                  <a:lnTo>
                    <a:pt x="3801845" y="6484057"/>
                  </a:lnTo>
                  <a:lnTo>
                    <a:pt x="3835895" y="6478116"/>
                  </a:lnTo>
                  <a:cubicBezTo>
                    <a:pt x="4017673" y="6446727"/>
                    <a:pt x="4194152" y="6390281"/>
                    <a:pt x="4364801" y="6308517"/>
                  </a:cubicBezTo>
                  <a:cubicBezTo>
                    <a:pt x="4535583" y="6227139"/>
                    <a:pt x="4700138" y="6120962"/>
                    <a:pt x="4861379" y="6000576"/>
                  </a:cubicBezTo>
                  <a:cubicBezTo>
                    <a:pt x="5022621" y="5879931"/>
                    <a:pt x="5180684" y="5745337"/>
                    <a:pt x="5341263" y="5605834"/>
                  </a:cubicBezTo>
                  <a:lnTo>
                    <a:pt x="5587301" y="5390379"/>
                  </a:lnTo>
                  <a:cubicBezTo>
                    <a:pt x="5674216" y="5315718"/>
                    <a:pt x="5761527" y="5244416"/>
                    <a:pt x="5849105" y="5176344"/>
                  </a:cubicBezTo>
                  <a:lnTo>
                    <a:pt x="5890489" y="5145260"/>
                  </a:lnTo>
                  <a:lnTo>
                    <a:pt x="5890489" y="5995323"/>
                  </a:lnTo>
                  <a:lnTo>
                    <a:pt x="5811477" y="6077819"/>
                  </a:lnTo>
                  <a:cubicBezTo>
                    <a:pt x="5654739" y="6238377"/>
                    <a:pt x="5487138" y="6396093"/>
                    <a:pt x="5301384" y="6542958"/>
                  </a:cubicBezTo>
                  <a:lnTo>
                    <a:pt x="5252008" y="6578438"/>
                  </a:lnTo>
                  <a:lnTo>
                    <a:pt x="1653730" y="6578438"/>
                  </a:lnTo>
                  <a:lnTo>
                    <a:pt x="1549768" y="6488821"/>
                  </a:lnTo>
                  <a:cubicBezTo>
                    <a:pt x="1461976" y="6409495"/>
                    <a:pt x="1378573" y="6327182"/>
                    <a:pt x="1298282" y="6243932"/>
                  </a:cubicBezTo>
                  <a:cubicBezTo>
                    <a:pt x="1278277" y="6223006"/>
                    <a:pt x="1258138" y="6202210"/>
                    <a:pt x="1237999" y="6181671"/>
                  </a:cubicBezTo>
                  <a:lnTo>
                    <a:pt x="1179967" y="6117862"/>
                  </a:lnTo>
                  <a:lnTo>
                    <a:pt x="1121936" y="6054569"/>
                  </a:lnTo>
                  <a:cubicBezTo>
                    <a:pt x="1102328" y="6033644"/>
                    <a:pt x="1084573" y="6011427"/>
                    <a:pt x="1065628" y="5990243"/>
                  </a:cubicBezTo>
                  <a:cubicBezTo>
                    <a:pt x="1028662" y="5947099"/>
                    <a:pt x="990239" y="5904991"/>
                    <a:pt x="954335" y="5861460"/>
                  </a:cubicBezTo>
                  <a:cubicBezTo>
                    <a:pt x="936050" y="5840018"/>
                    <a:pt x="917634" y="5818446"/>
                    <a:pt x="898953" y="5797393"/>
                  </a:cubicBezTo>
                  <a:cubicBezTo>
                    <a:pt x="880404" y="5776208"/>
                    <a:pt x="861325" y="5755412"/>
                    <a:pt x="842908" y="5733582"/>
                  </a:cubicBezTo>
                  <a:cubicBezTo>
                    <a:pt x="767919" y="5647942"/>
                    <a:pt x="693061" y="5561786"/>
                    <a:pt x="622442" y="5471884"/>
                  </a:cubicBezTo>
                  <a:cubicBezTo>
                    <a:pt x="551559" y="5382112"/>
                    <a:pt x="486639" y="5287430"/>
                    <a:pt x="425559" y="5190036"/>
                  </a:cubicBezTo>
                  <a:cubicBezTo>
                    <a:pt x="303668" y="4994990"/>
                    <a:pt x="200193" y="4786123"/>
                    <a:pt x="123877" y="4564210"/>
                  </a:cubicBezTo>
                  <a:cubicBezTo>
                    <a:pt x="47694" y="4342555"/>
                    <a:pt x="2249" y="4106045"/>
                    <a:pt x="130" y="3865530"/>
                  </a:cubicBezTo>
                  <a:cubicBezTo>
                    <a:pt x="-1328" y="3745403"/>
                    <a:pt x="9537" y="3624629"/>
                    <a:pt x="30602" y="3505793"/>
                  </a:cubicBezTo>
                  <a:cubicBezTo>
                    <a:pt x="51802" y="3386828"/>
                    <a:pt x="84659" y="3270059"/>
                    <a:pt x="126924" y="3157164"/>
                  </a:cubicBezTo>
                  <a:cubicBezTo>
                    <a:pt x="200457" y="2959276"/>
                    <a:pt x="271737" y="2761388"/>
                    <a:pt x="334803" y="2560530"/>
                  </a:cubicBezTo>
                  <a:lnTo>
                    <a:pt x="381176" y="2409144"/>
                  </a:lnTo>
                  <a:lnTo>
                    <a:pt x="425825" y="2255819"/>
                  </a:lnTo>
                  <a:lnTo>
                    <a:pt x="470210" y="2099523"/>
                  </a:lnTo>
                  <a:lnTo>
                    <a:pt x="492998" y="2020213"/>
                  </a:lnTo>
                  <a:lnTo>
                    <a:pt x="517509" y="1939224"/>
                  </a:lnTo>
                  <a:cubicBezTo>
                    <a:pt x="525061" y="1912485"/>
                    <a:pt x="534866" y="1884586"/>
                    <a:pt x="544007" y="1857201"/>
                  </a:cubicBezTo>
                  <a:cubicBezTo>
                    <a:pt x="553680" y="1829559"/>
                    <a:pt x="561496" y="1802304"/>
                    <a:pt x="573288" y="1774274"/>
                  </a:cubicBezTo>
                  <a:lnTo>
                    <a:pt x="606146" y="1690832"/>
                  </a:lnTo>
                  <a:cubicBezTo>
                    <a:pt x="618467" y="1663060"/>
                    <a:pt x="631716" y="1635417"/>
                    <a:pt x="644569" y="1607775"/>
                  </a:cubicBezTo>
                  <a:cubicBezTo>
                    <a:pt x="698625" y="1498368"/>
                    <a:pt x="763413" y="1391287"/>
                    <a:pt x="837874" y="1297638"/>
                  </a:cubicBezTo>
                  <a:cubicBezTo>
                    <a:pt x="910348" y="1201278"/>
                    <a:pt x="990107" y="1115897"/>
                    <a:pt x="1069602" y="1032194"/>
                  </a:cubicBezTo>
                  <a:cubicBezTo>
                    <a:pt x="1089079" y="1010624"/>
                    <a:pt x="1110012" y="990990"/>
                    <a:pt x="1130548" y="970839"/>
                  </a:cubicBezTo>
                  <a:lnTo>
                    <a:pt x="1192024" y="910129"/>
                  </a:lnTo>
                  <a:cubicBezTo>
                    <a:pt x="1212031" y="889462"/>
                    <a:pt x="1234024" y="870475"/>
                    <a:pt x="1255356" y="850841"/>
                  </a:cubicBezTo>
                  <a:lnTo>
                    <a:pt x="1319614" y="792068"/>
                  </a:lnTo>
                  <a:cubicBezTo>
                    <a:pt x="1340680" y="772176"/>
                    <a:pt x="1363469" y="753834"/>
                    <a:pt x="1385728" y="734975"/>
                  </a:cubicBezTo>
                  <a:lnTo>
                    <a:pt x="1452768" y="678528"/>
                  </a:lnTo>
                  <a:lnTo>
                    <a:pt x="1469594" y="664449"/>
                  </a:lnTo>
                  <a:lnTo>
                    <a:pt x="1487083" y="651015"/>
                  </a:lnTo>
                  <a:lnTo>
                    <a:pt x="1522193" y="624277"/>
                  </a:lnTo>
                  <a:lnTo>
                    <a:pt x="1592415" y="570671"/>
                  </a:lnTo>
                  <a:cubicBezTo>
                    <a:pt x="1640110" y="535925"/>
                    <a:pt x="1689531" y="503245"/>
                    <a:pt x="1738287" y="469402"/>
                  </a:cubicBezTo>
                  <a:cubicBezTo>
                    <a:pt x="1788634" y="438015"/>
                    <a:pt x="1839643" y="407013"/>
                    <a:pt x="1890918" y="376530"/>
                  </a:cubicBezTo>
                  <a:cubicBezTo>
                    <a:pt x="2098400" y="258209"/>
                    <a:pt x="2323503" y="166241"/>
                    <a:pt x="2555363" y="105274"/>
                  </a:cubicBezTo>
                  <a:cubicBezTo>
                    <a:pt x="2787223" y="44047"/>
                    <a:pt x="3024516" y="12013"/>
                    <a:pt x="3259291" y="3229"/>
                  </a:cubicBezTo>
                  <a:lnTo>
                    <a:pt x="3347265" y="903"/>
                  </a:ln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5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7CCEAF3-651B-4605-AE58-F96E2270363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3" y="52997"/>
              <a:ext cx="6093363" cy="6805004"/>
            </a:xfrm>
            <a:custGeom>
              <a:avLst/>
              <a:gdLst>
                <a:gd name="connsiteX0" fmla="*/ 3517682 w 5890491"/>
                <a:gd name="connsiteY0" fmla="*/ 0 h 6578439"/>
                <a:gd name="connsiteX1" fmla="*/ 5849513 w 5890491"/>
                <a:gd name="connsiteY1" fmla="*/ 841730 h 6578439"/>
                <a:gd name="connsiteX2" fmla="*/ 5890491 w 5890491"/>
                <a:gd name="connsiteY2" fmla="*/ 879061 h 6578439"/>
                <a:gd name="connsiteX3" fmla="*/ 5890491 w 5890491"/>
                <a:gd name="connsiteY3" fmla="*/ 2034114 h 6578439"/>
                <a:gd name="connsiteX4" fmla="*/ 5757065 w 5890491"/>
                <a:gd name="connsiteY4" fmla="*/ 1854938 h 6578439"/>
                <a:gd name="connsiteX5" fmla="*/ 5564060 w 5890491"/>
                <a:gd name="connsiteY5" fmla="*/ 1642182 h 6578439"/>
                <a:gd name="connsiteX6" fmla="*/ 3517551 w 5890491"/>
                <a:gd name="connsiteY6" fmla="*/ 790012 h 6578439"/>
                <a:gd name="connsiteX7" fmla="*/ 1611552 w 5890491"/>
                <a:gd name="connsiteY7" fmla="*/ 1543282 h 6578439"/>
                <a:gd name="connsiteX8" fmla="*/ 1340656 w 5890491"/>
                <a:gd name="connsiteY8" fmla="*/ 1897925 h 6578439"/>
                <a:gd name="connsiteX9" fmla="*/ 1201705 w 5890491"/>
                <a:gd name="connsiteY9" fmla="*/ 2361213 h 6578439"/>
                <a:gd name="connsiteX10" fmla="*/ 852705 w 5890491"/>
                <a:gd name="connsiteY10" fmla="*/ 3529176 h 6578439"/>
                <a:gd name="connsiteX11" fmla="*/ 863863 w 5890491"/>
                <a:gd name="connsiteY11" fmla="*/ 4437051 h 6578439"/>
                <a:gd name="connsiteX12" fmla="*/ 1413569 w 5890491"/>
                <a:gd name="connsiteY12" fmla="*/ 5357174 h 6578439"/>
                <a:gd name="connsiteX13" fmla="*/ 2339129 w 5890491"/>
                <a:gd name="connsiteY13" fmla="*/ 6143367 h 6578439"/>
                <a:gd name="connsiteX14" fmla="*/ 3439449 w 5890491"/>
                <a:gd name="connsiteY14" fmla="*/ 6420049 h 6578439"/>
                <a:gd name="connsiteX15" fmla="*/ 5251388 w 5890491"/>
                <a:gd name="connsiteY15" fmla="*/ 5349009 h 6578439"/>
                <a:gd name="connsiteX16" fmla="*/ 5657731 w 5890491"/>
                <a:gd name="connsiteY16" fmla="*/ 4959205 h 6578439"/>
                <a:gd name="connsiteX17" fmla="*/ 5836127 w 5890491"/>
                <a:gd name="connsiteY17" fmla="*/ 4792052 h 6578439"/>
                <a:gd name="connsiteX18" fmla="*/ 5890491 w 5890491"/>
                <a:gd name="connsiteY18" fmla="*/ 4738662 h 6578439"/>
                <a:gd name="connsiteX19" fmla="*/ 5890491 w 5890491"/>
                <a:gd name="connsiteY19" fmla="*/ 5821964 h 6578439"/>
                <a:gd name="connsiteX20" fmla="*/ 5802001 w 5890491"/>
                <a:gd name="connsiteY20" fmla="*/ 5907904 h 6578439"/>
                <a:gd name="connsiteX21" fmla="*/ 5294358 w 5890491"/>
                <a:gd name="connsiteY21" fmla="*/ 6397505 h 6578439"/>
                <a:gd name="connsiteX22" fmla="*/ 5077178 w 5890491"/>
                <a:gd name="connsiteY22" fmla="*/ 6578439 h 6578439"/>
                <a:gd name="connsiteX23" fmla="*/ 1567290 w 5890491"/>
                <a:gd name="connsiteY23" fmla="*/ 6578439 h 6578439"/>
                <a:gd name="connsiteX24" fmla="*/ 1508588 w 5890491"/>
                <a:gd name="connsiteY24" fmla="*/ 6535186 h 6578439"/>
                <a:gd name="connsiteX25" fmla="*/ 826498 w 5890491"/>
                <a:gd name="connsiteY25" fmla="*/ 5876034 h 6578439"/>
                <a:gd name="connsiteX26" fmla="*/ 122403 w 5890491"/>
                <a:gd name="connsiteY26" fmla="*/ 3255655 h 6578439"/>
                <a:gd name="connsiteX27" fmla="*/ 1061197 w 5890491"/>
                <a:gd name="connsiteY27" fmla="*/ 984650 h 6578439"/>
                <a:gd name="connsiteX28" fmla="*/ 3517682 w 5890491"/>
                <a:gd name="connsiteY28" fmla="*/ 0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890491" h="6578439">
                  <a:moveTo>
                    <a:pt x="3517682" y="0"/>
                  </a:moveTo>
                  <a:cubicBezTo>
                    <a:pt x="4402017" y="0"/>
                    <a:pt x="5213742" y="315483"/>
                    <a:pt x="5849513" y="841730"/>
                  </a:cubicBezTo>
                  <a:lnTo>
                    <a:pt x="5890491" y="879061"/>
                  </a:lnTo>
                  <a:lnTo>
                    <a:pt x="5890491" y="2034114"/>
                  </a:lnTo>
                  <a:lnTo>
                    <a:pt x="5757065" y="1854938"/>
                  </a:lnTo>
                  <a:cubicBezTo>
                    <a:pt x="5696443" y="1781264"/>
                    <a:pt x="5632076" y="1710299"/>
                    <a:pt x="5564060" y="1642182"/>
                  </a:cubicBezTo>
                  <a:cubicBezTo>
                    <a:pt x="5015393" y="1092636"/>
                    <a:pt x="4288592" y="790012"/>
                    <a:pt x="3517551" y="790012"/>
                  </a:cubicBezTo>
                  <a:cubicBezTo>
                    <a:pt x="2701750" y="790012"/>
                    <a:pt x="2131676" y="1015335"/>
                    <a:pt x="1611552" y="1543282"/>
                  </a:cubicBezTo>
                  <a:cubicBezTo>
                    <a:pt x="1435754" y="1721722"/>
                    <a:pt x="1375945" y="1822729"/>
                    <a:pt x="1340656" y="1897925"/>
                  </a:cubicBezTo>
                  <a:cubicBezTo>
                    <a:pt x="1289148" y="2007623"/>
                    <a:pt x="1252432" y="2155907"/>
                    <a:pt x="1201705" y="2361213"/>
                  </a:cubicBezTo>
                  <a:cubicBezTo>
                    <a:pt x="1133721" y="2635919"/>
                    <a:pt x="1040568" y="3012290"/>
                    <a:pt x="852705" y="3529176"/>
                  </a:cubicBezTo>
                  <a:cubicBezTo>
                    <a:pt x="749952" y="3811784"/>
                    <a:pt x="753584" y="4108747"/>
                    <a:pt x="863863" y="4437051"/>
                  </a:cubicBezTo>
                  <a:cubicBezTo>
                    <a:pt x="964800" y="4737438"/>
                    <a:pt x="1154869" y="5055603"/>
                    <a:pt x="1413569" y="5357174"/>
                  </a:cubicBezTo>
                  <a:cubicBezTo>
                    <a:pt x="1718326" y="5712343"/>
                    <a:pt x="2021008" y="5969404"/>
                    <a:pt x="2339129" y="6143367"/>
                  </a:cubicBezTo>
                  <a:cubicBezTo>
                    <a:pt x="2679565" y="6329577"/>
                    <a:pt x="3039591" y="6420049"/>
                    <a:pt x="3439449" y="6420049"/>
                  </a:cubicBezTo>
                  <a:cubicBezTo>
                    <a:pt x="4142246" y="6420049"/>
                    <a:pt x="4633828" y="5976251"/>
                    <a:pt x="5251388" y="5349009"/>
                  </a:cubicBezTo>
                  <a:cubicBezTo>
                    <a:pt x="5389949" y="5208364"/>
                    <a:pt x="5526047" y="5081677"/>
                    <a:pt x="5657731" y="4959205"/>
                  </a:cubicBezTo>
                  <a:cubicBezTo>
                    <a:pt x="5719520" y="4901722"/>
                    <a:pt x="5779200" y="4846206"/>
                    <a:pt x="5836127" y="4792052"/>
                  </a:cubicBezTo>
                  <a:lnTo>
                    <a:pt x="5890491" y="4738662"/>
                  </a:lnTo>
                  <a:lnTo>
                    <a:pt x="5890491" y="5821964"/>
                  </a:lnTo>
                  <a:lnTo>
                    <a:pt x="5802001" y="5907904"/>
                  </a:lnTo>
                  <a:cubicBezTo>
                    <a:pt x="5634962" y="6077456"/>
                    <a:pt x="5467509" y="6243625"/>
                    <a:pt x="5294358" y="6397505"/>
                  </a:cubicBezTo>
                  <a:lnTo>
                    <a:pt x="5077178" y="6578439"/>
                  </a:lnTo>
                  <a:lnTo>
                    <a:pt x="1567290" y="6578439"/>
                  </a:lnTo>
                  <a:lnTo>
                    <a:pt x="1508588" y="6535186"/>
                  </a:lnTo>
                  <a:cubicBezTo>
                    <a:pt x="1263991" y="6345442"/>
                    <a:pt x="1038054" y="6122666"/>
                    <a:pt x="826498" y="5876034"/>
                  </a:cubicBezTo>
                  <a:cubicBezTo>
                    <a:pt x="261613" y="5217713"/>
                    <a:pt x="-239182" y="4250314"/>
                    <a:pt x="122403" y="3255655"/>
                  </a:cubicBezTo>
                  <a:cubicBezTo>
                    <a:pt x="607497" y="1921629"/>
                    <a:pt x="393040" y="1662857"/>
                    <a:pt x="1061197" y="984650"/>
                  </a:cubicBezTo>
                  <a:cubicBezTo>
                    <a:pt x="1729484" y="306444"/>
                    <a:pt x="2498060" y="0"/>
                    <a:pt x="3517682" y="0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/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D519330-E5F1-4248-B58C-1AA0D9E6DAB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01024" y="52997"/>
              <a:ext cx="6093362" cy="6805004"/>
            </a:xfrm>
            <a:custGeom>
              <a:avLst/>
              <a:gdLst>
                <a:gd name="connsiteX0" fmla="*/ 5890490 w 5890490"/>
                <a:gd name="connsiteY0" fmla="*/ 5389037 h 6578439"/>
                <a:gd name="connsiteX1" fmla="*/ 5890490 w 5890490"/>
                <a:gd name="connsiteY1" fmla="*/ 5855587 h 6578439"/>
                <a:gd name="connsiteX2" fmla="*/ 5784593 w 5890490"/>
                <a:gd name="connsiteY2" fmla="*/ 5962054 h 6578439"/>
                <a:gd name="connsiteX3" fmla="*/ 5663414 w 5890490"/>
                <a:gd name="connsiteY3" fmla="*/ 6082564 h 6578439"/>
                <a:gd name="connsiteX4" fmla="*/ 5147099 w 5890490"/>
                <a:gd name="connsiteY4" fmla="*/ 6547726 h 6578439"/>
                <a:gd name="connsiteX5" fmla="*/ 5105015 w 5890490"/>
                <a:gd name="connsiteY5" fmla="*/ 6578439 h 6578439"/>
                <a:gd name="connsiteX6" fmla="*/ 4385601 w 5890490"/>
                <a:gd name="connsiteY6" fmla="*/ 6578439 h 6578439"/>
                <a:gd name="connsiteX7" fmla="*/ 4507252 w 5890490"/>
                <a:gd name="connsiteY7" fmla="*/ 6515968 h 6578439"/>
                <a:gd name="connsiteX8" fmla="*/ 4909330 w 5890490"/>
                <a:gd name="connsiteY8" fmla="*/ 6253453 h 6578439"/>
                <a:gd name="connsiteX9" fmla="*/ 5411374 w 5890490"/>
                <a:gd name="connsiteY9" fmla="*/ 5828544 h 6578439"/>
                <a:gd name="connsiteX10" fmla="*/ 5533570 w 5890490"/>
                <a:gd name="connsiteY10" fmla="*/ 5714534 h 6578439"/>
                <a:gd name="connsiteX11" fmla="*/ 5657425 w 5890490"/>
                <a:gd name="connsiteY11" fmla="*/ 5597650 h 6578439"/>
                <a:gd name="connsiteX12" fmla="*/ 3336813 w 5890490"/>
                <a:gd name="connsiteY12" fmla="*/ 499 h 6578439"/>
                <a:gd name="connsiteX13" fmla="*/ 3513674 w 5890490"/>
                <a:gd name="connsiteY13" fmla="*/ 1202 h 6578439"/>
                <a:gd name="connsiteX14" fmla="*/ 3602743 w 5890490"/>
                <a:gd name="connsiteY14" fmla="*/ 4827 h 6578439"/>
                <a:gd name="connsiteX15" fmla="*/ 3647213 w 5890490"/>
                <a:gd name="connsiteY15" fmla="*/ 6703 h 6578439"/>
                <a:gd name="connsiteX16" fmla="*/ 3691684 w 5890490"/>
                <a:gd name="connsiteY16" fmla="*/ 9453 h 6578439"/>
                <a:gd name="connsiteX17" fmla="*/ 3868927 w 5890490"/>
                <a:gd name="connsiteY17" fmla="*/ 27080 h 6578439"/>
                <a:gd name="connsiteX18" fmla="*/ 5200872 w 5890490"/>
                <a:gd name="connsiteY18" fmla="*/ 472240 h 6578439"/>
                <a:gd name="connsiteX19" fmla="*/ 5772711 w 5890490"/>
                <a:gd name="connsiteY19" fmla="*/ 866334 h 6578439"/>
                <a:gd name="connsiteX20" fmla="*/ 5890490 w 5890490"/>
                <a:gd name="connsiteY20" fmla="*/ 972426 h 6578439"/>
                <a:gd name="connsiteX21" fmla="*/ 5890490 w 5890490"/>
                <a:gd name="connsiteY21" fmla="*/ 1158576 h 6578439"/>
                <a:gd name="connsiteX22" fmla="*/ 5676045 w 5890490"/>
                <a:gd name="connsiteY22" fmla="*/ 986969 h 6578439"/>
                <a:gd name="connsiteX23" fmla="*/ 5103776 w 5890490"/>
                <a:gd name="connsiteY23" fmla="*/ 655879 h 6578439"/>
                <a:gd name="connsiteX24" fmla="*/ 4482465 w 5890490"/>
                <a:gd name="connsiteY24" fmla="*/ 440363 h 6578439"/>
                <a:gd name="connsiteX25" fmla="*/ 4402444 w 5890490"/>
                <a:gd name="connsiteY25" fmla="*/ 422111 h 6578439"/>
                <a:gd name="connsiteX26" fmla="*/ 4322423 w 5890490"/>
                <a:gd name="connsiteY26" fmla="*/ 404610 h 6578439"/>
                <a:gd name="connsiteX27" fmla="*/ 4241892 w 5890490"/>
                <a:gd name="connsiteY27" fmla="*/ 389858 h 6578439"/>
                <a:gd name="connsiteX28" fmla="*/ 4201627 w 5890490"/>
                <a:gd name="connsiteY28" fmla="*/ 382483 h 6578439"/>
                <a:gd name="connsiteX29" fmla="*/ 4161234 w 5890490"/>
                <a:gd name="connsiteY29" fmla="*/ 375857 h 6578439"/>
                <a:gd name="connsiteX30" fmla="*/ 3999280 w 5890490"/>
                <a:gd name="connsiteY30" fmla="*/ 353606 h 6578439"/>
                <a:gd name="connsiteX31" fmla="*/ 3836817 w 5890490"/>
                <a:gd name="connsiteY31" fmla="*/ 338480 h 6578439"/>
                <a:gd name="connsiteX32" fmla="*/ 3673972 w 5890490"/>
                <a:gd name="connsiteY32" fmla="*/ 330604 h 6578439"/>
                <a:gd name="connsiteX33" fmla="*/ 3511126 w 5890490"/>
                <a:gd name="connsiteY33" fmla="*/ 328978 h 6578439"/>
                <a:gd name="connsiteX34" fmla="*/ 3183142 w 5890490"/>
                <a:gd name="connsiteY34" fmla="*/ 342854 h 6578439"/>
                <a:gd name="connsiteX35" fmla="*/ 2541444 w 5890490"/>
                <a:gd name="connsiteY35" fmla="*/ 439988 h 6578439"/>
                <a:gd name="connsiteX36" fmla="*/ 1933895 w 5890490"/>
                <a:gd name="connsiteY36" fmla="*/ 650505 h 6578439"/>
                <a:gd name="connsiteX37" fmla="*/ 1378079 w 5890490"/>
                <a:gd name="connsiteY37" fmla="*/ 983905 h 6578439"/>
                <a:gd name="connsiteX38" fmla="*/ 1312967 w 5890490"/>
                <a:gd name="connsiteY38" fmla="*/ 1033660 h 6578439"/>
                <a:gd name="connsiteX39" fmla="*/ 1248364 w 5890490"/>
                <a:gd name="connsiteY39" fmla="*/ 1084413 h 6578439"/>
                <a:gd name="connsiteX40" fmla="*/ 1185163 w 5890490"/>
                <a:gd name="connsiteY40" fmla="*/ 1137168 h 6578439"/>
                <a:gd name="connsiteX41" fmla="*/ 1122852 w 5890490"/>
                <a:gd name="connsiteY41" fmla="*/ 1190922 h 6578439"/>
                <a:gd name="connsiteX42" fmla="*/ 892092 w 5890490"/>
                <a:gd name="connsiteY42" fmla="*/ 1421440 h 6578439"/>
                <a:gd name="connsiteX43" fmla="*/ 707202 w 5890490"/>
                <a:gd name="connsiteY43" fmla="*/ 1684212 h 6578439"/>
                <a:gd name="connsiteX44" fmla="*/ 670121 w 5890490"/>
                <a:gd name="connsiteY44" fmla="*/ 1756093 h 6578439"/>
                <a:gd name="connsiteX45" fmla="*/ 637630 w 5890490"/>
                <a:gd name="connsiteY45" fmla="*/ 1830724 h 6578439"/>
                <a:gd name="connsiteX46" fmla="*/ 607685 w 5890490"/>
                <a:gd name="connsiteY46" fmla="*/ 1907105 h 6578439"/>
                <a:gd name="connsiteX47" fmla="*/ 580034 w 5890490"/>
                <a:gd name="connsiteY47" fmla="*/ 1984986 h 6578439"/>
                <a:gd name="connsiteX48" fmla="*/ 481919 w 5890490"/>
                <a:gd name="connsiteY48" fmla="*/ 2304386 h 6578439"/>
                <a:gd name="connsiteX49" fmla="*/ 433881 w 5890490"/>
                <a:gd name="connsiteY49" fmla="*/ 2465399 h 6578439"/>
                <a:gd name="connsiteX50" fmla="*/ 384442 w 5890490"/>
                <a:gd name="connsiteY50" fmla="*/ 2626163 h 6578439"/>
                <a:gd name="connsiteX51" fmla="*/ 166039 w 5890490"/>
                <a:gd name="connsiteY51" fmla="*/ 3261338 h 6578439"/>
                <a:gd name="connsiteX52" fmla="*/ 56202 w 5890490"/>
                <a:gd name="connsiteY52" fmla="*/ 3910265 h 6578439"/>
                <a:gd name="connsiteX53" fmla="*/ 93664 w 5890490"/>
                <a:gd name="connsiteY53" fmla="*/ 4237292 h 6578439"/>
                <a:gd name="connsiteX54" fmla="*/ 111758 w 5890490"/>
                <a:gd name="connsiteY54" fmla="*/ 4317548 h 6578439"/>
                <a:gd name="connsiteX55" fmla="*/ 133038 w 5890490"/>
                <a:gd name="connsiteY55" fmla="*/ 4397054 h 6578439"/>
                <a:gd name="connsiteX56" fmla="*/ 157757 w 5890490"/>
                <a:gd name="connsiteY56" fmla="*/ 4475560 h 6578439"/>
                <a:gd name="connsiteX57" fmla="*/ 185153 w 5890490"/>
                <a:gd name="connsiteY57" fmla="*/ 4553066 h 6578439"/>
                <a:gd name="connsiteX58" fmla="*/ 493642 w 5890490"/>
                <a:gd name="connsiteY58" fmla="*/ 5132239 h 6578439"/>
                <a:gd name="connsiteX59" fmla="*/ 914391 w 5890490"/>
                <a:gd name="connsiteY59" fmla="*/ 5636528 h 6578439"/>
                <a:gd name="connsiteX60" fmla="*/ 1402034 w 5890490"/>
                <a:gd name="connsiteY60" fmla="*/ 6076188 h 6578439"/>
                <a:gd name="connsiteX61" fmla="*/ 1664397 w 5890490"/>
                <a:gd name="connsiteY61" fmla="*/ 6267079 h 6578439"/>
                <a:gd name="connsiteX62" fmla="*/ 1938992 w 5890490"/>
                <a:gd name="connsiteY62" fmla="*/ 6434343 h 6578439"/>
                <a:gd name="connsiteX63" fmla="*/ 2225931 w 5890490"/>
                <a:gd name="connsiteY63" fmla="*/ 6574322 h 6578439"/>
                <a:gd name="connsiteX64" fmla="*/ 2236328 w 5890490"/>
                <a:gd name="connsiteY64" fmla="*/ 6578439 h 6578439"/>
                <a:gd name="connsiteX65" fmla="*/ 1504665 w 5890490"/>
                <a:gd name="connsiteY65" fmla="*/ 6578439 h 6578439"/>
                <a:gd name="connsiteX66" fmla="*/ 1456827 w 5890490"/>
                <a:gd name="connsiteY66" fmla="*/ 6543476 h 6578439"/>
                <a:gd name="connsiteX67" fmla="*/ 1188475 w 5890490"/>
                <a:gd name="connsiteY67" fmla="*/ 6314083 h 6578439"/>
                <a:gd name="connsiteX68" fmla="*/ 721728 w 5890490"/>
                <a:gd name="connsiteY68" fmla="*/ 5798666 h 6578439"/>
                <a:gd name="connsiteX69" fmla="*/ 344175 w 5890490"/>
                <a:gd name="connsiteY69" fmla="*/ 5219495 h 6578439"/>
                <a:gd name="connsiteX70" fmla="*/ 87293 w 5890490"/>
                <a:gd name="connsiteY70" fmla="*/ 4583569 h 6578439"/>
                <a:gd name="connsiteX71" fmla="*/ 65886 w 5890490"/>
                <a:gd name="connsiteY71" fmla="*/ 4500813 h 6578439"/>
                <a:gd name="connsiteX72" fmla="*/ 47409 w 5890490"/>
                <a:gd name="connsiteY72" fmla="*/ 4417431 h 6578439"/>
                <a:gd name="connsiteX73" fmla="*/ 39000 w 5890490"/>
                <a:gd name="connsiteY73" fmla="*/ 4375677 h 6578439"/>
                <a:gd name="connsiteX74" fmla="*/ 31610 w 5890490"/>
                <a:gd name="connsiteY74" fmla="*/ 4333674 h 6578439"/>
                <a:gd name="connsiteX75" fmla="*/ 18868 w 5890490"/>
                <a:gd name="connsiteY75" fmla="*/ 4249417 h 6578439"/>
                <a:gd name="connsiteX76" fmla="*/ 646 w 5890490"/>
                <a:gd name="connsiteY76" fmla="*/ 3910265 h 6578439"/>
                <a:gd name="connsiteX77" fmla="*/ 130234 w 5890490"/>
                <a:gd name="connsiteY77" fmla="*/ 3248337 h 6578439"/>
                <a:gd name="connsiteX78" fmla="*/ 335383 w 5890490"/>
                <a:gd name="connsiteY78" fmla="*/ 2611911 h 6578439"/>
                <a:gd name="connsiteX79" fmla="*/ 487272 w 5890490"/>
                <a:gd name="connsiteY79" fmla="*/ 1958609 h 6578439"/>
                <a:gd name="connsiteX80" fmla="*/ 508550 w 5890490"/>
                <a:gd name="connsiteY80" fmla="*/ 1876227 h 6578439"/>
                <a:gd name="connsiteX81" fmla="*/ 531742 w 5890490"/>
                <a:gd name="connsiteY81" fmla="*/ 1793721 h 6578439"/>
                <a:gd name="connsiteX82" fmla="*/ 558245 w 5890490"/>
                <a:gd name="connsiteY82" fmla="*/ 1711465 h 6578439"/>
                <a:gd name="connsiteX83" fmla="*/ 590100 w 5890490"/>
                <a:gd name="connsiteY83" fmla="*/ 1630332 h 6578439"/>
                <a:gd name="connsiteX84" fmla="*/ 758680 w 5890490"/>
                <a:gd name="connsiteY84" fmla="*/ 1322433 h 6578439"/>
                <a:gd name="connsiteX85" fmla="*/ 976317 w 5890490"/>
                <a:gd name="connsiteY85" fmla="*/ 1049286 h 6578439"/>
                <a:gd name="connsiteX86" fmla="*/ 1035314 w 5890490"/>
                <a:gd name="connsiteY86" fmla="*/ 985406 h 6578439"/>
                <a:gd name="connsiteX87" fmla="*/ 1095329 w 5890490"/>
                <a:gd name="connsiteY87" fmla="*/ 922526 h 6578439"/>
                <a:gd name="connsiteX88" fmla="*/ 1157384 w 5890490"/>
                <a:gd name="connsiteY88" fmla="*/ 861271 h 6578439"/>
                <a:gd name="connsiteX89" fmla="*/ 1220841 w 5890490"/>
                <a:gd name="connsiteY89" fmla="*/ 801017 h 6578439"/>
                <a:gd name="connsiteX90" fmla="*/ 1286462 w 5890490"/>
                <a:gd name="connsiteY90" fmla="*/ 742886 h 6578439"/>
                <a:gd name="connsiteX91" fmla="*/ 1353233 w 5890490"/>
                <a:gd name="connsiteY91" fmla="*/ 685632 h 6578439"/>
                <a:gd name="connsiteX92" fmla="*/ 1369924 w 5890490"/>
                <a:gd name="connsiteY92" fmla="*/ 671256 h 6578439"/>
                <a:gd name="connsiteX93" fmla="*/ 1387380 w 5890490"/>
                <a:gd name="connsiteY93" fmla="*/ 657755 h 6578439"/>
                <a:gd name="connsiteX94" fmla="*/ 1422422 w 5890490"/>
                <a:gd name="connsiteY94" fmla="*/ 630877 h 6578439"/>
                <a:gd name="connsiteX95" fmla="*/ 1492759 w 5890490"/>
                <a:gd name="connsiteY95" fmla="*/ 577248 h 6578439"/>
                <a:gd name="connsiteX96" fmla="*/ 1528820 w 5890490"/>
                <a:gd name="connsiteY96" fmla="*/ 551496 h 6578439"/>
                <a:gd name="connsiteX97" fmla="*/ 1565390 w 5890490"/>
                <a:gd name="connsiteY97" fmla="*/ 526370 h 6578439"/>
                <a:gd name="connsiteX98" fmla="*/ 1639040 w 5890490"/>
                <a:gd name="connsiteY98" fmla="*/ 476490 h 6578439"/>
                <a:gd name="connsiteX99" fmla="*/ 1792075 w 5890490"/>
                <a:gd name="connsiteY99" fmla="*/ 384859 h 6578439"/>
                <a:gd name="connsiteX100" fmla="*/ 2455943 w 5890490"/>
                <a:gd name="connsiteY100" fmla="*/ 117836 h 6578439"/>
                <a:gd name="connsiteX101" fmla="*/ 3159952 w 5890490"/>
                <a:gd name="connsiteY101" fmla="*/ 7203 h 6578439"/>
                <a:gd name="connsiteX102" fmla="*/ 3336813 w 5890490"/>
                <a:gd name="connsiteY102" fmla="*/ 499 h 6578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5890490" h="6578439">
                  <a:moveTo>
                    <a:pt x="5890490" y="5389037"/>
                  </a:moveTo>
                  <a:lnTo>
                    <a:pt x="5890490" y="5855587"/>
                  </a:lnTo>
                  <a:lnTo>
                    <a:pt x="5784593" y="5962054"/>
                  </a:lnTo>
                  <a:cubicBezTo>
                    <a:pt x="5744454" y="6002308"/>
                    <a:pt x="5704062" y="6042436"/>
                    <a:pt x="5663414" y="6082564"/>
                  </a:cubicBezTo>
                  <a:cubicBezTo>
                    <a:pt x="5500314" y="6242577"/>
                    <a:pt x="5330970" y="6400714"/>
                    <a:pt x="5147099" y="6547726"/>
                  </a:cubicBezTo>
                  <a:lnTo>
                    <a:pt x="5105015" y="6578439"/>
                  </a:lnTo>
                  <a:lnTo>
                    <a:pt x="4385601" y="6578439"/>
                  </a:lnTo>
                  <a:lnTo>
                    <a:pt x="4507252" y="6515968"/>
                  </a:lnTo>
                  <a:cubicBezTo>
                    <a:pt x="4645901" y="6439679"/>
                    <a:pt x="4779837" y="6350961"/>
                    <a:pt x="4909330" y="6253453"/>
                  </a:cubicBezTo>
                  <a:cubicBezTo>
                    <a:pt x="5082369" y="6123567"/>
                    <a:pt x="5248145" y="5979180"/>
                    <a:pt x="5411374" y="5828544"/>
                  </a:cubicBezTo>
                  <a:cubicBezTo>
                    <a:pt x="5452149" y="5790791"/>
                    <a:pt x="5492924" y="5752788"/>
                    <a:pt x="5533570" y="5714534"/>
                  </a:cubicBezTo>
                  <a:lnTo>
                    <a:pt x="5657425" y="5597650"/>
                  </a:lnTo>
                  <a:close/>
                  <a:moveTo>
                    <a:pt x="3336813" y="499"/>
                  </a:moveTo>
                  <a:cubicBezTo>
                    <a:pt x="3395682" y="-392"/>
                    <a:pt x="3454550" y="-48"/>
                    <a:pt x="3513674" y="1202"/>
                  </a:cubicBezTo>
                  <a:lnTo>
                    <a:pt x="3602743" y="4827"/>
                  </a:lnTo>
                  <a:lnTo>
                    <a:pt x="3647213" y="6703"/>
                  </a:lnTo>
                  <a:cubicBezTo>
                    <a:pt x="3661994" y="7327"/>
                    <a:pt x="3676903" y="7703"/>
                    <a:pt x="3691684" y="9453"/>
                  </a:cubicBezTo>
                  <a:lnTo>
                    <a:pt x="3868927" y="27080"/>
                  </a:lnTo>
                  <a:cubicBezTo>
                    <a:pt x="4340645" y="85584"/>
                    <a:pt x="4795160" y="243221"/>
                    <a:pt x="5200872" y="472240"/>
                  </a:cubicBezTo>
                  <a:cubicBezTo>
                    <a:pt x="5403855" y="587124"/>
                    <a:pt x="5594988" y="719447"/>
                    <a:pt x="5772711" y="866334"/>
                  </a:cubicBezTo>
                  <a:lnTo>
                    <a:pt x="5890490" y="972426"/>
                  </a:lnTo>
                  <a:lnTo>
                    <a:pt x="5890490" y="1158576"/>
                  </a:lnTo>
                  <a:lnTo>
                    <a:pt x="5676045" y="986969"/>
                  </a:lnTo>
                  <a:cubicBezTo>
                    <a:pt x="5496587" y="857740"/>
                    <a:pt x="5304275" y="746699"/>
                    <a:pt x="5103776" y="655879"/>
                  </a:cubicBezTo>
                  <a:cubicBezTo>
                    <a:pt x="4903214" y="564747"/>
                    <a:pt x="4695006" y="492492"/>
                    <a:pt x="4482465" y="440363"/>
                  </a:cubicBezTo>
                  <a:lnTo>
                    <a:pt x="4402444" y="422111"/>
                  </a:lnTo>
                  <a:cubicBezTo>
                    <a:pt x="4375813" y="416111"/>
                    <a:pt x="4349436" y="408859"/>
                    <a:pt x="4322423" y="404610"/>
                  </a:cubicBezTo>
                  <a:lnTo>
                    <a:pt x="4241892" y="389858"/>
                  </a:lnTo>
                  <a:lnTo>
                    <a:pt x="4201627" y="382483"/>
                  </a:lnTo>
                  <a:cubicBezTo>
                    <a:pt x="4188248" y="379983"/>
                    <a:pt x="4174869" y="377483"/>
                    <a:pt x="4161234" y="375857"/>
                  </a:cubicBezTo>
                  <a:cubicBezTo>
                    <a:pt x="4107208" y="368482"/>
                    <a:pt x="4053308" y="360482"/>
                    <a:pt x="3999280" y="353606"/>
                  </a:cubicBezTo>
                  <a:cubicBezTo>
                    <a:pt x="3944999" y="348855"/>
                    <a:pt x="3890844" y="343854"/>
                    <a:pt x="3836817" y="338480"/>
                  </a:cubicBezTo>
                  <a:lnTo>
                    <a:pt x="3673972" y="330604"/>
                  </a:lnTo>
                  <a:cubicBezTo>
                    <a:pt x="3619690" y="329104"/>
                    <a:pt x="3565281" y="329604"/>
                    <a:pt x="3511126" y="328978"/>
                  </a:cubicBezTo>
                  <a:cubicBezTo>
                    <a:pt x="3402054" y="330728"/>
                    <a:pt x="3291706" y="334604"/>
                    <a:pt x="3183142" y="342854"/>
                  </a:cubicBezTo>
                  <a:cubicBezTo>
                    <a:pt x="2965505" y="358855"/>
                    <a:pt x="2750670" y="389733"/>
                    <a:pt x="2541444" y="439988"/>
                  </a:cubicBezTo>
                  <a:cubicBezTo>
                    <a:pt x="2332216" y="490117"/>
                    <a:pt x="2128850" y="559997"/>
                    <a:pt x="1933895" y="650505"/>
                  </a:cubicBezTo>
                  <a:cubicBezTo>
                    <a:pt x="1738939" y="741261"/>
                    <a:pt x="1553540" y="854146"/>
                    <a:pt x="1378079" y="983905"/>
                  </a:cubicBezTo>
                  <a:lnTo>
                    <a:pt x="1312967" y="1033660"/>
                  </a:lnTo>
                  <a:cubicBezTo>
                    <a:pt x="1291178" y="1050286"/>
                    <a:pt x="1269006" y="1066412"/>
                    <a:pt x="1248364" y="1084413"/>
                  </a:cubicBezTo>
                  <a:lnTo>
                    <a:pt x="1185163" y="1137168"/>
                  </a:lnTo>
                  <a:cubicBezTo>
                    <a:pt x="1164138" y="1154794"/>
                    <a:pt x="1142603" y="1172046"/>
                    <a:pt x="1122852" y="1190922"/>
                  </a:cubicBezTo>
                  <a:cubicBezTo>
                    <a:pt x="1041557" y="1264303"/>
                    <a:pt x="961663" y="1339309"/>
                    <a:pt x="892092" y="1421440"/>
                  </a:cubicBezTo>
                  <a:cubicBezTo>
                    <a:pt x="819589" y="1501822"/>
                    <a:pt x="759827" y="1590329"/>
                    <a:pt x="707202" y="1684212"/>
                  </a:cubicBezTo>
                  <a:cubicBezTo>
                    <a:pt x="694715" y="1708089"/>
                    <a:pt x="682227" y="1731841"/>
                    <a:pt x="670121" y="1756093"/>
                  </a:cubicBezTo>
                  <a:lnTo>
                    <a:pt x="637630" y="1830724"/>
                  </a:lnTo>
                  <a:cubicBezTo>
                    <a:pt x="626161" y="1855350"/>
                    <a:pt x="617624" y="1881603"/>
                    <a:pt x="607685" y="1907105"/>
                  </a:cubicBezTo>
                  <a:cubicBezTo>
                    <a:pt x="598128" y="1932857"/>
                    <a:pt x="588317" y="1958483"/>
                    <a:pt x="580034" y="1984986"/>
                  </a:cubicBezTo>
                  <a:cubicBezTo>
                    <a:pt x="544611" y="2089620"/>
                    <a:pt x="513393" y="2197128"/>
                    <a:pt x="481919" y="2304386"/>
                  </a:cubicBezTo>
                  <a:lnTo>
                    <a:pt x="433881" y="2465399"/>
                  </a:lnTo>
                  <a:lnTo>
                    <a:pt x="384442" y="2626163"/>
                  </a:lnTo>
                  <a:cubicBezTo>
                    <a:pt x="317672" y="2839680"/>
                    <a:pt x="243129" y="3050946"/>
                    <a:pt x="166039" y="3261338"/>
                  </a:cubicBezTo>
                  <a:cubicBezTo>
                    <a:pt x="88822" y="3468979"/>
                    <a:pt x="50850" y="3690248"/>
                    <a:pt x="56202" y="3910265"/>
                  </a:cubicBezTo>
                  <a:cubicBezTo>
                    <a:pt x="58495" y="4020274"/>
                    <a:pt x="71493" y="4129783"/>
                    <a:pt x="93664" y="4237292"/>
                  </a:cubicBezTo>
                  <a:cubicBezTo>
                    <a:pt x="99143" y="4264168"/>
                    <a:pt x="104623" y="4291045"/>
                    <a:pt x="111758" y="4317548"/>
                  </a:cubicBezTo>
                  <a:cubicBezTo>
                    <a:pt x="118384" y="4344176"/>
                    <a:pt x="124627" y="4370802"/>
                    <a:pt x="133038" y="4397054"/>
                  </a:cubicBezTo>
                  <a:cubicBezTo>
                    <a:pt x="140810" y="4423307"/>
                    <a:pt x="148456" y="4449683"/>
                    <a:pt x="157757" y="4475560"/>
                  </a:cubicBezTo>
                  <a:cubicBezTo>
                    <a:pt x="166549" y="4501562"/>
                    <a:pt x="175087" y="4527564"/>
                    <a:pt x="185153" y="4553066"/>
                  </a:cubicBezTo>
                  <a:cubicBezTo>
                    <a:pt x="262371" y="4758458"/>
                    <a:pt x="368895" y="4951974"/>
                    <a:pt x="493642" y="5132239"/>
                  </a:cubicBezTo>
                  <a:cubicBezTo>
                    <a:pt x="618389" y="5312627"/>
                    <a:pt x="760846" y="5480391"/>
                    <a:pt x="914391" y="5636528"/>
                  </a:cubicBezTo>
                  <a:cubicBezTo>
                    <a:pt x="1069081" y="5793166"/>
                    <a:pt x="1231544" y="5941677"/>
                    <a:pt x="1402034" y="6076188"/>
                  </a:cubicBezTo>
                  <a:cubicBezTo>
                    <a:pt x="1487535" y="6143320"/>
                    <a:pt x="1574565" y="6207574"/>
                    <a:pt x="1664397" y="6267079"/>
                  </a:cubicBezTo>
                  <a:cubicBezTo>
                    <a:pt x="1753592" y="6327459"/>
                    <a:pt x="1845336" y="6383088"/>
                    <a:pt x="1938992" y="6434343"/>
                  </a:cubicBezTo>
                  <a:cubicBezTo>
                    <a:pt x="2032647" y="6485659"/>
                    <a:pt x="2128309" y="6532600"/>
                    <a:pt x="2225931" y="6574322"/>
                  </a:cubicBezTo>
                  <a:lnTo>
                    <a:pt x="2236328" y="6578439"/>
                  </a:lnTo>
                  <a:lnTo>
                    <a:pt x="1504665" y="6578439"/>
                  </a:lnTo>
                  <a:lnTo>
                    <a:pt x="1456827" y="6543476"/>
                  </a:lnTo>
                  <a:cubicBezTo>
                    <a:pt x="1363554" y="6470595"/>
                    <a:pt x="1273848" y="6394340"/>
                    <a:pt x="1188475" y="6314083"/>
                  </a:cubicBezTo>
                  <a:cubicBezTo>
                    <a:pt x="1017856" y="6153445"/>
                    <a:pt x="863803" y="5979931"/>
                    <a:pt x="721728" y="5798666"/>
                  </a:cubicBezTo>
                  <a:cubicBezTo>
                    <a:pt x="579397" y="5616027"/>
                    <a:pt x="452103" y="5422511"/>
                    <a:pt x="344175" y="5219495"/>
                  </a:cubicBezTo>
                  <a:cubicBezTo>
                    <a:pt x="236505" y="5016354"/>
                    <a:pt x="147946" y="4803586"/>
                    <a:pt x="87293" y="4583569"/>
                  </a:cubicBezTo>
                  <a:cubicBezTo>
                    <a:pt x="79138" y="4556193"/>
                    <a:pt x="72639" y="4528440"/>
                    <a:pt x="65886" y="4500813"/>
                  </a:cubicBezTo>
                  <a:cubicBezTo>
                    <a:pt x="58751" y="4473311"/>
                    <a:pt x="53144" y="4445308"/>
                    <a:pt x="47409" y="4417431"/>
                  </a:cubicBezTo>
                  <a:cubicBezTo>
                    <a:pt x="44733" y="4403430"/>
                    <a:pt x="41294" y="4389679"/>
                    <a:pt x="39000" y="4375677"/>
                  </a:cubicBezTo>
                  <a:lnTo>
                    <a:pt x="31610" y="4333674"/>
                  </a:lnTo>
                  <a:cubicBezTo>
                    <a:pt x="26258" y="4305797"/>
                    <a:pt x="22563" y="4277544"/>
                    <a:pt x="18868" y="4249417"/>
                  </a:cubicBezTo>
                  <a:cubicBezTo>
                    <a:pt x="4214" y="4136784"/>
                    <a:pt x="-2158" y="4023275"/>
                    <a:pt x="646" y="3910265"/>
                  </a:cubicBezTo>
                  <a:cubicBezTo>
                    <a:pt x="5997" y="3683872"/>
                    <a:pt x="50596" y="3459605"/>
                    <a:pt x="130234" y="3248337"/>
                  </a:cubicBezTo>
                  <a:cubicBezTo>
                    <a:pt x="207961" y="3039196"/>
                    <a:pt x="278044" y="2827179"/>
                    <a:pt x="335383" y="2611911"/>
                  </a:cubicBezTo>
                  <a:cubicBezTo>
                    <a:pt x="393743" y="2396644"/>
                    <a:pt x="435792" y="2178627"/>
                    <a:pt x="487272" y="1958609"/>
                  </a:cubicBezTo>
                  <a:cubicBezTo>
                    <a:pt x="493259" y="1931107"/>
                    <a:pt x="501287" y="1903730"/>
                    <a:pt x="508550" y="1876227"/>
                  </a:cubicBezTo>
                  <a:cubicBezTo>
                    <a:pt x="516195" y="1848725"/>
                    <a:pt x="522312" y="1820972"/>
                    <a:pt x="531742" y="1793721"/>
                  </a:cubicBezTo>
                  <a:lnTo>
                    <a:pt x="558245" y="1711465"/>
                  </a:lnTo>
                  <a:cubicBezTo>
                    <a:pt x="568439" y="1684337"/>
                    <a:pt x="579652" y="1657459"/>
                    <a:pt x="590100" y="1630332"/>
                  </a:cubicBezTo>
                  <a:cubicBezTo>
                    <a:pt x="635080" y="1523075"/>
                    <a:pt x="690637" y="1417566"/>
                    <a:pt x="758680" y="1322433"/>
                  </a:cubicBezTo>
                  <a:cubicBezTo>
                    <a:pt x="824430" y="1225051"/>
                    <a:pt x="899610" y="1136168"/>
                    <a:pt x="976317" y="1049286"/>
                  </a:cubicBezTo>
                  <a:cubicBezTo>
                    <a:pt x="995049" y="1027035"/>
                    <a:pt x="1015436" y="1006533"/>
                    <a:pt x="1035314" y="985406"/>
                  </a:cubicBezTo>
                  <a:lnTo>
                    <a:pt x="1095329" y="922526"/>
                  </a:lnTo>
                  <a:cubicBezTo>
                    <a:pt x="1114953" y="901149"/>
                    <a:pt x="1136359" y="881397"/>
                    <a:pt x="1157384" y="861271"/>
                  </a:cubicBezTo>
                  <a:lnTo>
                    <a:pt x="1220841" y="801017"/>
                  </a:lnTo>
                  <a:cubicBezTo>
                    <a:pt x="1241610" y="780514"/>
                    <a:pt x="1264418" y="762014"/>
                    <a:pt x="1286462" y="742886"/>
                  </a:cubicBezTo>
                  <a:lnTo>
                    <a:pt x="1353233" y="685632"/>
                  </a:lnTo>
                  <a:lnTo>
                    <a:pt x="1369924" y="671256"/>
                  </a:lnTo>
                  <a:cubicBezTo>
                    <a:pt x="1375658" y="666631"/>
                    <a:pt x="1381520" y="662255"/>
                    <a:pt x="1387380" y="657755"/>
                  </a:cubicBezTo>
                  <a:lnTo>
                    <a:pt x="1422422" y="630877"/>
                  </a:lnTo>
                  <a:lnTo>
                    <a:pt x="1492759" y="577248"/>
                  </a:lnTo>
                  <a:cubicBezTo>
                    <a:pt x="1504355" y="567997"/>
                    <a:pt x="1516714" y="559997"/>
                    <a:pt x="1528820" y="551496"/>
                  </a:cubicBezTo>
                  <a:lnTo>
                    <a:pt x="1565390" y="526370"/>
                  </a:lnTo>
                  <a:lnTo>
                    <a:pt x="1639040" y="476490"/>
                  </a:lnTo>
                  <a:cubicBezTo>
                    <a:pt x="1689754" y="445613"/>
                    <a:pt x="1740723" y="414986"/>
                    <a:pt x="1792075" y="384859"/>
                  </a:cubicBezTo>
                  <a:cubicBezTo>
                    <a:pt x="2000282" y="268724"/>
                    <a:pt x="2224927" y="179467"/>
                    <a:pt x="2455943" y="117836"/>
                  </a:cubicBezTo>
                  <a:cubicBezTo>
                    <a:pt x="2687088" y="55957"/>
                    <a:pt x="2923964" y="21204"/>
                    <a:pt x="3159952" y="7203"/>
                  </a:cubicBezTo>
                  <a:cubicBezTo>
                    <a:pt x="3219076" y="3515"/>
                    <a:pt x="3277945" y="1389"/>
                    <a:pt x="3336813" y="499"/>
                  </a:cubicBezTo>
                  <a:close/>
                </a:path>
              </a:pathLst>
            </a:custGeom>
            <a:gradFill flip="none" rotWithShape="1"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5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Graphic 6" descr="Stethoscope">
            <a:extLst>
              <a:ext uri="{FF2B5EF4-FFF2-40B4-BE49-F238E27FC236}">
                <a16:creationId xmlns:a16="http://schemas.microsoft.com/office/drawing/2014/main" id="{7E0C9A36-EDEF-6C5B-D4E9-9477A34C32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676992" y="2216469"/>
            <a:ext cx="3106320" cy="310632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0417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1753817"/>
            <a:ext cx="3373332" cy="134545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435" y="2005613"/>
            <a:ext cx="3649434" cy="15081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tangle 9"/>
          <p:cNvSpPr/>
          <p:nvPr/>
        </p:nvSpPr>
        <p:spPr>
          <a:xfrm>
            <a:off x="248672" y="5578351"/>
            <a:ext cx="85905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Diacon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AH. et al, N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J Med. 2014;371:723–32; Pym AS et al.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Respir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J. 2016;47:564–7; Conradie, F et al, SAMJ; </a:t>
            </a:r>
            <a:r>
              <a:rPr lang="fr-FR" sz="900" dirty="0">
                <a:latin typeface="Calibri" panose="020F0502020204030204" pitchFamily="34" charset="0"/>
                <a:cs typeface="Calibri" panose="020F0502020204030204" pitchFamily="34" charset="0"/>
              </a:rPr>
              <a:t>Ndjeka N et al, </a:t>
            </a:r>
            <a:r>
              <a:rPr lang="fr-FR" sz="900" dirty="0" err="1"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fr-FR" sz="9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900" dirty="0" err="1">
                <a:latin typeface="Calibri" panose="020F0502020204030204" pitchFamily="34" charset="0"/>
                <a:cs typeface="Calibri" panose="020F0502020204030204" pitchFamily="34" charset="0"/>
              </a:rPr>
              <a:t>Resp</a:t>
            </a:r>
            <a:r>
              <a:rPr lang="fr-FR" sz="900" dirty="0">
                <a:latin typeface="Calibri" panose="020F0502020204030204" pitchFamily="34" charset="0"/>
                <a:cs typeface="Calibri" panose="020F0502020204030204" pitchFamily="34" charset="0"/>
              </a:rPr>
              <a:t> J  2018;52: </a:t>
            </a:r>
            <a:r>
              <a:rPr lang="fr-FR" sz="900" dirty="0" err="1">
                <a:latin typeface="Calibri" panose="020F0502020204030204" pitchFamily="34" charset="0"/>
                <a:cs typeface="Calibri" panose="020F0502020204030204" pitchFamily="34" charset="0"/>
              </a:rPr>
              <a:t>pii</a:t>
            </a:r>
            <a:r>
              <a:rPr lang="fr-FR" sz="900" dirty="0">
                <a:latin typeface="Calibri" panose="020F0502020204030204" pitchFamily="34" charset="0"/>
                <a:cs typeface="Calibri" panose="020F0502020204030204" pitchFamily="34" charset="0"/>
              </a:rPr>
              <a:t>: 1801528; </a:t>
            </a:r>
            <a:r>
              <a:rPr lang="en-ZA" sz="900" dirty="0" err="1">
                <a:latin typeface="Calibri" panose="020F0502020204030204" pitchFamily="34" charset="0"/>
                <a:cs typeface="Calibri" panose="020F0502020204030204" pitchFamily="34" charset="0"/>
              </a:rPr>
              <a:t>Ndjeka</a:t>
            </a:r>
            <a:r>
              <a:rPr lang="en-ZA" sz="900" dirty="0">
                <a:latin typeface="Calibri" panose="020F0502020204030204" pitchFamily="34" charset="0"/>
                <a:cs typeface="Calibri" panose="020F0502020204030204" pitchFamily="34" charset="0"/>
              </a:rPr>
              <a:t> N et al, </a:t>
            </a:r>
            <a:r>
              <a:rPr lang="en-ZA" sz="900" dirty="0" err="1">
                <a:latin typeface="Calibri" panose="020F0502020204030204" pitchFamily="34" charset="0"/>
                <a:cs typeface="Calibri" panose="020F0502020204030204" pitchFamily="34" charset="0"/>
              </a:rPr>
              <a:t>Int</a:t>
            </a:r>
            <a:r>
              <a:rPr lang="en-ZA" sz="900" dirty="0">
                <a:latin typeface="Calibri" panose="020F0502020204030204" pitchFamily="34" charset="0"/>
                <a:cs typeface="Calibri" panose="020F0502020204030204" pitchFamily="34" charset="0"/>
              </a:rPr>
              <a:t> J </a:t>
            </a:r>
            <a:r>
              <a:rPr lang="en-ZA" sz="900" dirty="0" err="1">
                <a:latin typeface="Calibri" panose="020F0502020204030204" pitchFamily="34" charset="0"/>
                <a:cs typeface="Calibri" panose="020F0502020204030204" pitchFamily="34" charset="0"/>
              </a:rPr>
              <a:t>Tuberc</a:t>
            </a:r>
            <a:r>
              <a:rPr lang="en-ZA" sz="900" dirty="0">
                <a:latin typeface="Calibri" panose="020F0502020204030204" pitchFamily="34" charset="0"/>
                <a:cs typeface="Calibri" panose="020F0502020204030204" pitchFamily="34" charset="0"/>
              </a:rPr>
              <a:t> Lung Dis 2015;19:979-85.Schnippel K et al. Lancet Respir Med. 2018;6:699–706;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Brigden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G, et al. </a:t>
            </a:r>
            <a:r>
              <a:rPr lang="en-GB" sz="900" dirty="0" err="1">
                <a:latin typeface="Calibri" panose="020F0502020204030204" pitchFamily="34" charset="0"/>
                <a:cs typeface="Calibri" panose="020F0502020204030204" pitchFamily="34" charset="0"/>
              </a:rPr>
              <a:t>PLoS</a:t>
            </a:r>
            <a:r>
              <a:rPr lang="en-GB" sz="900" dirty="0">
                <a:latin typeface="Calibri" panose="020F0502020204030204" pitchFamily="34" charset="0"/>
                <a:cs typeface="Calibri" panose="020F0502020204030204" pitchFamily="34" charset="0"/>
              </a:rPr>
              <a:t> Med. 2019;16:e1002896.</a:t>
            </a: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0" y="1682141"/>
            <a:ext cx="9144000" cy="5715"/>
          </a:xfrm>
          <a:prstGeom prst="line">
            <a:avLst/>
          </a:prstGeom>
          <a:noFill/>
          <a:ln w="38100" cmpd="sng">
            <a:solidFill>
              <a:srgbClr val="0070C0"/>
            </a:solidFill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" name="Picture 2">
            <a:extLst>
              <a:ext uri="{FF2B5EF4-FFF2-40B4-BE49-F238E27FC236}">
                <a16:creationId xmlns:a16="http://schemas.microsoft.com/office/drawing/2014/main" id="{3DAF69C7-C76B-4718-9FB3-0EB0C57C76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t="6169" b="10745"/>
          <a:stretch/>
        </p:blipFill>
        <p:spPr bwMode="auto">
          <a:xfrm>
            <a:off x="979798" y="2174581"/>
            <a:ext cx="3649433" cy="221001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16" name="Rectangle 15"/>
          <p:cNvSpPr/>
          <p:nvPr/>
        </p:nvSpPr>
        <p:spPr>
          <a:xfrm>
            <a:off x="791571" y="6970357"/>
            <a:ext cx="3103697" cy="236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14337">
              <a:defRPr/>
            </a:pPr>
            <a:endParaRPr lang="en-ZA" sz="675" dirty="0">
              <a:solidFill>
                <a:srgbClr val="44546A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6C5D4ED-5400-4A1B-8BB7-EC0432012C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7145" y="2711557"/>
            <a:ext cx="4610842" cy="13991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Image 5">
            <a:extLst>
              <a:ext uri="{FF2B5EF4-FFF2-40B4-BE49-F238E27FC236}">
                <a16:creationId xmlns:a16="http://schemas.microsoft.com/office/drawing/2014/main" id="{D005E414-6B2D-4FE6-A816-81F9397C891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1362" y="2862956"/>
            <a:ext cx="5045558" cy="11081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136C56D-4B4E-4D09-AD59-BEC36F3F255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15" t="14361" r="2594" b="31263"/>
          <a:stretch/>
        </p:blipFill>
        <p:spPr>
          <a:xfrm>
            <a:off x="2012740" y="3105208"/>
            <a:ext cx="3765056" cy="2004078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27" name="Image 6">
            <a:extLst>
              <a:ext uri="{FF2B5EF4-FFF2-40B4-BE49-F238E27FC236}">
                <a16:creationId xmlns:a16="http://schemas.microsoft.com/office/drawing/2014/main" id="{E8A0E778-CDD9-460E-82B7-FE539989173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565" y="3992296"/>
            <a:ext cx="4782230" cy="156606"/>
          </a:xfrm>
          <a:prstGeom prst="rect">
            <a:avLst/>
          </a:prstGeom>
        </p:spPr>
      </p:pic>
      <p:pic>
        <p:nvPicPr>
          <p:cNvPr id="31" name="Image 1">
            <a:extLst>
              <a:ext uri="{FF2B5EF4-FFF2-40B4-BE49-F238E27FC236}">
                <a16:creationId xmlns:a16="http://schemas.microsoft.com/office/drawing/2014/main" id="{C4B0216E-0413-4AB4-8886-86BF4BF85AC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8939" y="3315276"/>
            <a:ext cx="5400600" cy="208526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32" name="Image 2">
            <a:extLst>
              <a:ext uri="{FF2B5EF4-FFF2-40B4-BE49-F238E27FC236}">
                <a16:creationId xmlns:a16="http://schemas.microsoft.com/office/drawing/2014/main" id="{F6D21E59-F0A6-4F8B-B883-04D105752B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2660" y="3857013"/>
            <a:ext cx="8174038" cy="1581264"/>
          </a:xfrm>
          <a:prstGeom prst="rect">
            <a:avLst/>
          </a:prstGeom>
          <a:ln w="19050">
            <a:solidFill>
              <a:srgbClr val="4471C4"/>
            </a:solidFill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7055D8-A225-4D3F-997A-219C2BCBB4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6720B6-0C66-43DB-80DE-8F829B011C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/>
              <a:t>c</a:t>
            </a: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B7712D64-5F9A-4C7A-A394-7427667E2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590" y="1041704"/>
            <a:ext cx="8555868" cy="555428"/>
          </a:xfrm>
        </p:spPr>
        <p:txBody>
          <a:bodyPr/>
          <a:lstStyle/>
          <a:p>
            <a:r>
              <a:rPr lang="en-ZA" sz="2100" dirty="0"/>
              <a:t>SOUTH AFRICAN IMPLEMENTATION PATHWAY FOR BDQ</a:t>
            </a:r>
          </a:p>
        </p:txBody>
      </p:sp>
    </p:spTree>
    <p:extLst>
      <p:ext uri="{BB962C8B-B14F-4D97-AF65-F5344CB8AC3E}">
        <p14:creationId xmlns:p14="http://schemas.microsoft.com/office/powerpoint/2010/main" val="1229044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9803043-1094-42BC-9416-EED263C870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17592" y="643466"/>
            <a:ext cx="6108814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68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16752CC-7C3E-1F51-13F1-623BBC224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096" y="0"/>
            <a:ext cx="31678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07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FF1005-4D05-8883-A3D0-FBDD69B2C1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0"/>
            <a:ext cx="3167807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25D625-72E6-87B7-9C10-A031F6B76A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40" y="0"/>
            <a:ext cx="3167807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A31FFE-1CB2-4F46-3DD6-B39B05820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9289" y="0"/>
            <a:ext cx="31678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57084-261D-FDC2-8450-A57E3EB95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DB12E2-6451-97E9-2A8B-EFEE45F34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678" y="116632"/>
            <a:ext cx="3167807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1FC899-3AF2-5DB5-679A-16A2E84DED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116632"/>
            <a:ext cx="31678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27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fb64681-b4d7-4bef-adbd-96bdc9f5413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864BF53553964EB9AE724018521032" ma:contentTypeVersion="15" ma:contentTypeDescription="Create a new document." ma:contentTypeScope="" ma:versionID="b69fdbfae9110e62c274eadac3605114">
  <xsd:schema xmlns:xsd="http://www.w3.org/2001/XMLSchema" xmlns:xs="http://www.w3.org/2001/XMLSchema" xmlns:p="http://schemas.microsoft.com/office/2006/metadata/properties" xmlns:ns3="2fb64681-b4d7-4bef-adbd-96bdc9f54131" xmlns:ns4="da9e54a9-bd1a-4155-ab8a-710f2ad3e90b" targetNamespace="http://schemas.microsoft.com/office/2006/metadata/properties" ma:root="true" ma:fieldsID="f56dc7aa9f36742c9f031ebab72b8aa0" ns3:_="" ns4:_="">
    <xsd:import namespace="2fb64681-b4d7-4bef-adbd-96bdc9f54131"/>
    <xsd:import namespace="da9e54a9-bd1a-4155-ab8a-710f2ad3e90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b64681-b4d7-4bef-adbd-96bdc9f541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9e54a9-bd1a-4155-ab8a-710f2ad3e90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CA0361-0F69-49BC-AE06-C9D62FD568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CB4427-7BD3-420C-9C06-595478360C5E}">
  <ds:schemaRefs>
    <ds:schemaRef ds:uri="http://purl.org/dc/dcmitype/"/>
    <ds:schemaRef ds:uri="http://schemas.openxmlformats.org/package/2006/metadata/core-properties"/>
    <ds:schemaRef ds:uri="da9e54a9-bd1a-4155-ab8a-710f2ad3e90b"/>
    <ds:schemaRef ds:uri="http://purl.org/dc/elements/1.1/"/>
    <ds:schemaRef ds:uri="2fb64681-b4d7-4bef-adbd-96bdc9f54131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FFA9923-36F5-4FDA-A168-B9915F89DF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b64681-b4d7-4bef-adbd-96bdc9f54131"/>
    <ds:schemaRef ds:uri="da9e54a9-bd1a-4155-ab8a-710f2ad3e9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672</TotalTime>
  <Words>451</Words>
  <Application>Microsoft Office PowerPoint</Application>
  <PresentationFormat>On-screen Show (4:3)</PresentationFormat>
  <Paragraphs>7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5</vt:i4>
      </vt:variant>
    </vt:vector>
  </HeadingPairs>
  <TitlesOfParts>
    <vt:vector size="30" baseType="lpstr">
      <vt:lpstr>Arial</vt:lpstr>
      <vt:lpstr>Arial Nova</vt:lpstr>
      <vt:lpstr>Calibri</vt:lpstr>
      <vt:lpstr>Cochocib Script Latin Pro</vt:lpstr>
      <vt:lpstr>Courier New</vt:lpstr>
      <vt:lpstr>Lucida Grande</vt:lpstr>
      <vt:lpstr>Symbol</vt:lpstr>
      <vt:lpstr>Times New Roman</vt:lpstr>
      <vt:lpstr>Verdana</vt:lpstr>
      <vt:lpstr>Wingdings</vt:lpstr>
      <vt:lpstr>Office Theme</vt:lpstr>
      <vt:lpstr>Custom Design</vt:lpstr>
      <vt:lpstr>think-cell Slide</vt:lpstr>
      <vt:lpstr>ISIS/Draw Sketch</vt:lpstr>
      <vt:lpstr>Photo Editor Photo</vt:lpstr>
      <vt:lpstr>PowerPoint Presentation</vt:lpstr>
      <vt:lpstr>BDQ Antibacterial Spectrum</vt:lpstr>
      <vt:lpstr>Mechanism of Action</vt:lpstr>
      <vt:lpstr>EVIDENCE BASED PRACTICE</vt:lpstr>
      <vt:lpstr>SOUTH AFRICAN IMPLEMENTATION PATHWAY FOR BDQ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Rosaline Daniel</cp:lastModifiedBy>
  <cp:revision>42</cp:revision>
  <dcterms:created xsi:type="dcterms:W3CDTF">2013-10-17T06:13:57Z</dcterms:created>
  <dcterms:modified xsi:type="dcterms:W3CDTF">2023-09-14T19:0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864BF53553964EB9AE724018521032</vt:lpwstr>
  </property>
  <property fmtid="{D5CDD505-2E9C-101B-9397-08002B2CF9AE}" pid="3" name="_dlc_DocIdItemGuid">
    <vt:lpwstr>4a1e674f-884e-4113-a28f-2c2d7db3e719</vt:lpwstr>
  </property>
</Properties>
</file>